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4768" r:id="rId2"/>
    <p:sldMasterId id="2147484790" r:id="rId3"/>
  </p:sldMasterIdLst>
  <p:notesMasterIdLst>
    <p:notesMasterId r:id="rId8"/>
  </p:notesMasterIdLst>
  <p:handoutMasterIdLst>
    <p:handoutMasterId r:id="rId9"/>
  </p:handoutMasterIdLst>
  <p:sldIdLst>
    <p:sldId id="311" r:id="rId4"/>
    <p:sldId id="310" r:id="rId5"/>
    <p:sldId id="300" r:id="rId6"/>
    <p:sldId id="301" r:id="rId7"/>
  </p:sldIdLst>
  <p:sldSz cx="9144000" cy="5715000" type="screen16x10"/>
  <p:notesSz cx="6858000" cy="9144000"/>
  <p:custDataLst>
    <p:tags r:id="rId10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67">
          <p15:clr>
            <a:srgbClr val="A4A3A4"/>
          </p15:clr>
        </p15:guide>
        <p15:guide id="2" orient="horz" pos="3070">
          <p15:clr>
            <a:srgbClr val="A4A3A4"/>
          </p15:clr>
        </p15:guide>
        <p15:guide id="3" pos="295">
          <p15:clr>
            <a:srgbClr val="A4A3A4"/>
          </p15:clr>
        </p15:guide>
        <p15:guide id="4" pos="546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1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3340"/>
    <a:srgbClr val="FFCD00"/>
    <a:srgbClr val="005EB8"/>
    <a:srgbClr val="FFCDB8"/>
    <a:srgbClr val="FFCF06"/>
    <a:srgbClr val="F8C704"/>
    <a:srgbClr val="EFC002"/>
    <a:srgbClr val="00A8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289" autoAdjust="0"/>
    <p:restoredTop sz="93313" autoAdjust="0"/>
  </p:normalViewPr>
  <p:slideViewPr>
    <p:cSldViewPr snapToObjects="1">
      <p:cViewPr varScale="1">
        <p:scale>
          <a:sx n="101" d="100"/>
          <a:sy n="101" d="100"/>
        </p:scale>
        <p:origin x="1046" y="67"/>
      </p:cViewPr>
      <p:guideLst>
        <p:guide orient="horz" pos="167"/>
        <p:guide orient="horz" pos="3070"/>
        <p:guide pos="295"/>
        <p:guide pos="546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84" d="100"/>
        <a:sy n="184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939D04D9-2D90-E741-8C77-A958108973E5}" type="datetimeFigureOut">
              <a:rPr lang="en-US"/>
              <a:pPr>
                <a:defRPr/>
              </a:pPr>
              <a:t>2/15/2019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381337A6-C487-9645-B543-6BBD05A1D1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2453935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1FE7B0BA-8FA8-3A4A-9820-CF1299A8B616}" type="datetime1">
              <a:rPr lang="fi-FI"/>
              <a:pPr>
                <a:defRPr/>
              </a:pPr>
              <a:t>15.2.2019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i-FI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noProof="0"/>
              <a:t>Click to edit Master text styles</a:t>
            </a:r>
          </a:p>
          <a:p>
            <a:pPr lvl="1"/>
            <a:r>
              <a:rPr lang="fi-FI" noProof="0"/>
              <a:t>Second level</a:t>
            </a:r>
          </a:p>
          <a:p>
            <a:pPr lvl="2"/>
            <a:r>
              <a:rPr lang="fi-FI" noProof="0"/>
              <a:t>Third level</a:t>
            </a:r>
          </a:p>
          <a:p>
            <a:pPr lvl="3"/>
            <a:r>
              <a:rPr lang="fi-FI" noProof="0"/>
              <a:t>Fourth level</a:t>
            </a:r>
          </a:p>
          <a:p>
            <a:pPr lvl="4"/>
            <a:r>
              <a:rPr lang="fi-FI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66A5FF2-0573-2649-A39A-26FA52E05379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972913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66A5FF2-0573-2649-A39A-26FA52E05379}" type="slidenum">
              <a:rPr lang="fi-FI" smtClean="0"/>
              <a:pPr>
                <a:defRPr/>
              </a:pPr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091044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wmf"/><Relationship Id="rId3" Type="http://schemas.openxmlformats.org/officeDocument/2006/relationships/tags" Target="../tags/tag3.xml"/><Relationship Id="rId7" Type="http://schemas.openxmlformats.org/officeDocument/2006/relationships/image" Target="../media/image11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w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w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w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W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w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w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w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WMF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WMF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WMF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w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wmf"/><Relationship Id="rId3" Type="http://schemas.openxmlformats.org/officeDocument/2006/relationships/tags" Target="../tags/tag5.xml"/><Relationship Id="rId7" Type="http://schemas.openxmlformats.org/officeDocument/2006/relationships/image" Target="../media/image11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w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1106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3" y="1657740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3" y="4531740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0459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3" y="1657740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3" y="4531740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8458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3" y="1633364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68313" y="4507364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5627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13788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875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055876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81483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46364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83162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4150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40"/>
          <a:stretch/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273324"/>
            <a:ext cx="8207374" cy="332437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13788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7082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261611"/>
            <a:ext cx="8207374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/>
              <a:t>15.2.2019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228159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261611"/>
            <a:ext cx="8207374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/>
              <a:t>15.2.2019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46364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142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65113"/>
            <a:ext cx="8212380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08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15.2.2019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13788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820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3993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13" y="1261611"/>
            <a:ext cx="3988079" cy="333664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049"/>
            <a:ext cx="3988079" cy="333664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/>
              <a:t>15.2.2019</a:t>
            </a:fld>
            <a:endParaRPr lang="fi-FI"/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055876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7522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3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FBD0ED-27AA-4BEE-8827-0A59147D95E5}" type="datetime1">
              <a:rPr lang="fi-FI" smtClean="0"/>
              <a:t>15.2.2019</a:t>
            </a:fld>
            <a:endParaRPr lang="fi-FI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46364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9713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584309" y="1593555"/>
            <a:ext cx="797538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584310" y="4545167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" y="0"/>
            <a:ext cx="2238480" cy="176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9687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84309" y="1593555"/>
            <a:ext cx="797538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84310" y="4545167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38480" cy="176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25640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84309" y="1593555"/>
            <a:ext cx="797538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84310" y="4545167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" y="0"/>
            <a:ext cx="2238480" cy="176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10874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84309" y="1593555"/>
            <a:ext cx="797538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584310" y="4545167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" y="0"/>
            <a:ext cx="2238480" cy="176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2537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84309" y="1593555"/>
            <a:ext cx="797538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84310" y="4545167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238480" cy="176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2591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584309" y="1593555"/>
            <a:ext cx="797538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84310" y="4545167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" y="0"/>
            <a:ext cx="2238480" cy="1769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723036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84309" y="2283611"/>
            <a:ext cx="7975385" cy="21966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84310" y="4587498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2" y="14049"/>
            <a:ext cx="2236006" cy="173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9143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584309" y="2283611"/>
            <a:ext cx="7975385" cy="21966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584310" y="4587498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2" y="14049"/>
            <a:ext cx="2236006" cy="173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800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2187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584309" y="2283611"/>
            <a:ext cx="7975385" cy="2196667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584310" y="4587498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4049"/>
            <a:ext cx="2236005" cy="173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8941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584311" y="2029613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000" b="1" spc="-167"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584311" y="4903613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2" y="14049"/>
            <a:ext cx="2236006" cy="173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20283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84311" y="2029613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000" b="1" spc="-167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584311" y="4903613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2" y="14049"/>
            <a:ext cx="2236006" cy="173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62824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584311" y="2029613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5000" b="1" spc="-167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584311" y="4903613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333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3809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61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23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04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668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0478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4049"/>
            <a:ext cx="2236005" cy="1739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9835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>
          <a:xfrm>
            <a:off x="539750" y="4804833"/>
            <a:ext cx="8085138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84309" y="1593555"/>
            <a:ext cx="797538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616" y="4682439"/>
            <a:ext cx="2449209" cy="955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80359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39750" y="4804833"/>
            <a:ext cx="8085138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584309" y="1593555"/>
            <a:ext cx="797538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125" y="4683926"/>
            <a:ext cx="2346452" cy="942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07051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936" y="4684241"/>
            <a:ext cx="2446833" cy="941634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539750" y="4804833"/>
            <a:ext cx="8085138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584309" y="1593555"/>
            <a:ext cx="797538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1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2236005" cy="1767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059088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4641" y="4664604"/>
            <a:ext cx="2473630" cy="998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539750" y="4804833"/>
            <a:ext cx="8085138" cy="0"/>
          </a:xfrm>
          <a:prstGeom prst="line">
            <a:avLst/>
          </a:prstGeom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0002" y="317500"/>
            <a:ext cx="8085599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b="1" spc="-8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404730"/>
            <a:ext cx="8085599" cy="319296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50" b="1">
                <a:latin typeface="+mj-lt"/>
              </a:defRPr>
            </a:lvl1pPr>
            <a:lvl2pPr marL="197992" indent="-176993">
              <a:buFont typeface="Arial"/>
              <a:buChar char="•"/>
              <a:defRPr sz="1667">
                <a:latin typeface="Georgia"/>
              </a:defRPr>
            </a:lvl2pPr>
            <a:lvl3pPr marL="383985" indent="-191992">
              <a:buFont typeface="Lucida Grande"/>
              <a:buChar char="-"/>
              <a:defRPr sz="1333" i="1">
                <a:latin typeface="Georgia"/>
                <a:cs typeface="Georgia"/>
              </a:defRPr>
            </a:lvl3pPr>
            <a:lvl4pPr marL="659974" indent="-161994">
              <a:buFont typeface="Arial"/>
              <a:buChar char="•"/>
              <a:defRPr sz="1167" baseline="0">
                <a:latin typeface="Georgia"/>
              </a:defRPr>
            </a:lvl4pPr>
            <a:lvl5pPr marL="905964" indent="-190492">
              <a:buFont typeface="Courier New"/>
              <a:buChar char="o"/>
              <a:defRPr sz="108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A7D511-EF24-F248-BEA4-1AD370F38D7A}" type="datetime1">
              <a:rPr lang="fi-FI"/>
              <a:pPr>
                <a:defRPr/>
              </a:pPr>
              <a:t>15.2.2019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106880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8922" y="4664604"/>
            <a:ext cx="2473630" cy="998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539750" y="4804833"/>
            <a:ext cx="8085138" cy="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2" y="317500"/>
            <a:ext cx="8085599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b="1" spc="-8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404730"/>
            <a:ext cx="8085599" cy="319296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50" b="1">
                <a:latin typeface="+mj-lt"/>
              </a:defRPr>
            </a:lvl1pPr>
            <a:lvl2pPr marL="197992" indent="-176993">
              <a:buFont typeface="Arial"/>
              <a:buChar char="•"/>
              <a:defRPr sz="1667">
                <a:latin typeface="Georgia"/>
              </a:defRPr>
            </a:lvl2pPr>
            <a:lvl3pPr marL="383985" indent="-191992">
              <a:buFont typeface="Lucida Grande"/>
              <a:buChar char="-"/>
              <a:defRPr sz="1333" i="1">
                <a:latin typeface="Georgia"/>
                <a:cs typeface="Georgia"/>
              </a:defRPr>
            </a:lvl3pPr>
            <a:lvl4pPr marL="659974" indent="-161994">
              <a:buFont typeface="Arial"/>
              <a:buChar char="•"/>
              <a:defRPr sz="1167" baseline="0">
                <a:latin typeface="Georgia"/>
              </a:defRPr>
            </a:lvl4pPr>
            <a:lvl5pPr marL="905964" indent="-190492">
              <a:buFont typeface="Courier New"/>
              <a:buChar char="o"/>
              <a:defRPr sz="108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D910DB-C0F0-1A41-AB6F-AB5EC7730884}" type="datetime1">
              <a:rPr lang="fi-FI"/>
              <a:pPr>
                <a:defRPr/>
              </a:pPr>
              <a:t>15.2.2019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5431175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2898" y="4664604"/>
            <a:ext cx="2473630" cy="998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/>
          <p:cNvCxnSpPr/>
          <p:nvPr userDrawn="1"/>
        </p:nvCxnSpPr>
        <p:spPr>
          <a:xfrm>
            <a:off x="539750" y="4804833"/>
            <a:ext cx="8085138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540002" y="317500"/>
            <a:ext cx="8085599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b="1" spc="-8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404730"/>
            <a:ext cx="8085599" cy="319296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50" b="1">
                <a:latin typeface="+mj-lt"/>
              </a:defRPr>
            </a:lvl1pPr>
            <a:lvl2pPr marL="197992" indent="-176993">
              <a:buFont typeface="Arial"/>
              <a:buChar char="•"/>
              <a:defRPr sz="1667">
                <a:latin typeface="Georgia"/>
              </a:defRPr>
            </a:lvl2pPr>
            <a:lvl3pPr marL="383985" indent="-191992">
              <a:buFont typeface="Lucida Grande"/>
              <a:buChar char="-"/>
              <a:defRPr sz="1333" i="1">
                <a:latin typeface="Georgia"/>
                <a:cs typeface="Georgia"/>
              </a:defRPr>
            </a:lvl3pPr>
            <a:lvl4pPr marL="659974" indent="-161994">
              <a:buFont typeface="Arial"/>
              <a:buChar char="•"/>
              <a:defRPr sz="1167" baseline="0">
                <a:latin typeface="Georgia"/>
              </a:defRPr>
            </a:lvl4pPr>
            <a:lvl5pPr marL="905964" indent="-190492">
              <a:buFont typeface="Courier New"/>
              <a:buChar char="o"/>
              <a:defRPr sz="108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15D0FA-D02A-0640-99E9-F9BA78C58440}" type="datetime1">
              <a:rPr lang="fi-FI"/>
              <a:pPr>
                <a:defRPr/>
              </a:pPr>
              <a:t>15.2.2019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281015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8278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539750" y="4804833"/>
            <a:ext cx="8085138" cy="0"/>
          </a:xfrm>
          <a:prstGeom prst="line">
            <a:avLst/>
          </a:prstGeom>
          <a:ln w="12700" cmpd="sng">
            <a:solidFill>
              <a:schemeClr val="accent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2" y="317500"/>
            <a:ext cx="8085599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b="1" spc="-8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404730"/>
            <a:ext cx="3988079" cy="319296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50" b="1">
                <a:latin typeface="+mj-lt"/>
              </a:defRPr>
            </a:lvl1pPr>
            <a:lvl2pPr marL="197992" indent="-176993">
              <a:buFont typeface="Arial"/>
              <a:buChar char="•"/>
              <a:defRPr sz="1667">
                <a:latin typeface="Georgia"/>
              </a:defRPr>
            </a:lvl2pPr>
            <a:lvl3pPr marL="383985" indent="-191992">
              <a:buFont typeface="Lucida Grande"/>
              <a:buChar char="-"/>
              <a:defRPr sz="1333" i="1">
                <a:latin typeface="Georgia"/>
                <a:cs typeface="Georgia"/>
              </a:defRPr>
            </a:lvl3pPr>
            <a:lvl4pPr marL="659974" indent="-161994">
              <a:buFont typeface="Arial"/>
              <a:buChar char="•"/>
              <a:defRPr sz="1167" baseline="0">
                <a:latin typeface="Georgia"/>
              </a:defRPr>
            </a:lvl4pPr>
            <a:lvl5pPr marL="905964" indent="-190492">
              <a:buFont typeface="Courier New"/>
              <a:buChar char="o"/>
              <a:defRPr sz="108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37522" y="1404730"/>
            <a:ext cx="3988079" cy="319296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50" b="1">
                <a:latin typeface="+mj-lt"/>
              </a:defRPr>
            </a:lvl1pPr>
            <a:lvl2pPr marL="197992" indent="-176993">
              <a:buFont typeface="Arial"/>
              <a:buChar char="•"/>
              <a:defRPr sz="1667">
                <a:latin typeface="Georgia"/>
              </a:defRPr>
            </a:lvl2pPr>
            <a:lvl3pPr marL="383985" indent="-191992">
              <a:buFont typeface="Lucida Grande"/>
              <a:buChar char="-"/>
              <a:defRPr sz="1333" i="1">
                <a:latin typeface="Georgia"/>
                <a:cs typeface="Georgia"/>
              </a:defRPr>
            </a:lvl3pPr>
            <a:lvl4pPr marL="659974" indent="-161994">
              <a:buFont typeface="Arial"/>
              <a:buChar char="•"/>
              <a:defRPr sz="1167" baseline="0">
                <a:latin typeface="Georgia"/>
              </a:defRPr>
            </a:lvl4pPr>
            <a:lvl5pPr marL="905964" indent="-190492">
              <a:buFont typeface="Courier New"/>
              <a:buChar char="o"/>
              <a:defRPr sz="108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49A5E8-EE9D-CB41-8F80-274DF3CEAEDA}" type="datetime1">
              <a:rPr lang="fi-FI"/>
              <a:pPr>
                <a:defRPr/>
              </a:pPr>
              <a:t>15.2.2019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54641" y="4664604"/>
            <a:ext cx="2473630" cy="998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683586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539750" y="4804833"/>
            <a:ext cx="8085138" cy="0"/>
          </a:xfrm>
          <a:prstGeom prst="line">
            <a:avLst/>
          </a:prstGeom>
          <a:ln w="12700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540002" y="317500"/>
            <a:ext cx="8085599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b="1" spc="-8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404730"/>
            <a:ext cx="3988079" cy="319296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50" b="1">
                <a:latin typeface="+mj-lt"/>
              </a:defRPr>
            </a:lvl1pPr>
            <a:lvl2pPr marL="197992" indent="-176993">
              <a:buFont typeface="Arial"/>
              <a:buChar char="•"/>
              <a:defRPr sz="1667">
                <a:latin typeface="Georgia"/>
              </a:defRPr>
            </a:lvl2pPr>
            <a:lvl3pPr marL="383985" indent="-191992">
              <a:buFont typeface="Lucida Grande"/>
              <a:buChar char="-"/>
              <a:defRPr sz="1333" i="1">
                <a:latin typeface="Georgia"/>
                <a:cs typeface="Georgia"/>
              </a:defRPr>
            </a:lvl3pPr>
            <a:lvl4pPr marL="659974" indent="-161994">
              <a:buFont typeface="Arial"/>
              <a:buChar char="•"/>
              <a:defRPr sz="1167" baseline="0">
                <a:latin typeface="Georgia"/>
              </a:defRPr>
            </a:lvl4pPr>
            <a:lvl5pPr marL="905964" indent="-190492">
              <a:buFont typeface="Courier New"/>
              <a:buChar char="o"/>
              <a:defRPr sz="108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37522" y="1404730"/>
            <a:ext cx="3988079" cy="319296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50" b="1">
                <a:latin typeface="+mj-lt"/>
              </a:defRPr>
            </a:lvl1pPr>
            <a:lvl2pPr marL="197992" indent="-176993">
              <a:buFont typeface="Arial"/>
              <a:buChar char="•"/>
              <a:defRPr sz="1667">
                <a:latin typeface="Georgia"/>
              </a:defRPr>
            </a:lvl2pPr>
            <a:lvl3pPr marL="383985" indent="-191992">
              <a:buFont typeface="Lucida Grande"/>
              <a:buChar char="-"/>
              <a:defRPr sz="1333" i="1">
                <a:latin typeface="Georgia"/>
                <a:cs typeface="Georgia"/>
              </a:defRPr>
            </a:lvl3pPr>
            <a:lvl4pPr marL="659974" indent="-161994">
              <a:buFont typeface="Arial"/>
              <a:buChar char="•"/>
              <a:defRPr sz="1167" baseline="0">
                <a:latin typeface="Georgia"/>
              </a:defRPr>
            </a:lvl4pPr>
            <a:lvl5pPr marL="905964" indent="-190492">
              <a:buFont typeface="Courier New"/>
              <a:buChar char="o"/>
              <a:defRPr sz="108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64257C-E009-394F-997B-9AE811492EDD}" type="datetime1">
              <a:rPr lang="fi-FI"/>
              <a:pPr>
                <a:defRPr/>
              </a:pPr>
              <a:t>15.2.2019</a:t>
            </a:fld>
            <a:endParaRPr lang="fi-FI"/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0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18922" y="4664604"/>
            <a:ext cx="2473630" cy="998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85423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539750" y="4804833"/>
            <a:ext cx="8085138" cy="0"/>
          </a:xfrm>
          <a:prstGeom prst="line">
            <a:avLst/>
          </a:prstGeom>
          <a:ln w="12700" cmpd="sng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540002" y="317500"/>
            <a:ext cx="8085599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000" b="1" spc="-83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40002" y="1404730"/>
            <a:ext cx="3988079" cy="319296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50" b="1">
                <a:latin typeface="+mj-lt"/>
              </a:defRPr>
            </a:lvl1pPr>
            <a:lvl2pPr marL="197992" indent="-176993">
              <a:buFont typeface="Arial"/>
              <a:buChar char="•"/>
              <a:defRPr sz="1667">
                <a:latin typeface="Georgia"/>
              </a:defRPr>
            </a:lvl2pPr>
            <a:lvl3pPr marL="383985" indent="-191992">
              <a:buFont typeface="Lucida Grande"/>
              <a:buChar char="-"/>
              <a:defRPr sz="1333" i="1">
                <a:latin typeface="Georgia"/>
                <a:cs typeface="Georgia"/>
              </a:defRPr>
            </a:lvl3pPr>
            <a:lvl4pPr marL="659974" indent="-161994">
              <a:buFont typeface="Arial"/>
              <a:buChar char="•"/>
              <a:defRPr sz="1167" baseline="0">
                <a:latin typeface="Georgia"/>
              </a:defRPr>
            </a:lvl4pPr>
            <a:lvl5pPr marL="905964" indent="-190492">
              <a:buFont typeface="Courier New"/>
              <a:buChar char="o"/>
              <a:defRPr sz="108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8"/>
          </p:nvPr>
        </p:nvSpPr>
        <p:spPr>
          <a:xfrm>
            <a:off x="4637522" y="1404730"/>
            <a:ext cx="3988079" cy="319296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1750" b="1">
                <a:latin typeface="+mj-lt"/>
              </a:defRPr>
            </a:lvl1pPr>
            <a:lvl2pPr marL="197992" indent="-176993">
              <a:buFont typeface="Arial"/>
              <a:buChar char="•"/>
              <a:defRPr sz="1667">
                <a:latin typeface="Georgia"/>
              </a:defRPr>
            </a:lvl2pPr>
            <a:lvl3pPr marL="383985" indent="-191992">
              <a:buFont typeface="Lucida Grande"/>
              <a:buChar char="-"/>
              <a:defRPr sz="1333" i="1">
                <a:latin typeface="Georgia"/>
                <a:cs typeface="Georgia"/>
              </a:defRPr>
            </a:lvl3pPr>
            <a:lvl4pPr marL="659974" indent="-161994">
              <a:buFont typeface="Arial"/>
              <a:buChar char="•"/>
              <a:defRPr sz="1167" baseline="0">
                <a:latin typeface="Georgia"/>
              </a:defRPr>
            </a:lvl4pPr>
            <a:lvl5pPr marL="905964" indent="-190492">
              <a:buFont typeface="Courier New"/>
              <a:buChar char="o"/>
              <a:defRPr sz="1083"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E44533-59DD-8944-8B96-95FFBA80E20B}" type="datetime1">
              <a:rPr lang="fi-FI"/>
              <a:pPr>
                <a:defRPr/>
              </a:pPr>
              <a:t>15.2.2019</a:t>
            </a:fld>
            <a:endParaRPr lang="fi-FI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pic>
        <p:nvPicPr>
          <p:cNvPr id="15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72898" y="4664604"/>
            <a:ext cx="2473630" cy="998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32789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30365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02510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340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6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32844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8010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20988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37007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88448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6897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2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8227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89589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88448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933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3" y="1657740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3" y="4531740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pic>
        <p:nvPicPr>
          <p:cNvPr id="7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9128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3" y="1657740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3" y="4531740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1953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4349262" y="150000"/>
            <a:ext cx="4629692" cy="54150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en-US" noProof="0"/>
              <a:t>Click icon to add picture</a:t>
            </a:r>
            <a:endParaRPr lang="fi-FI" noProof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468313" y="1633364"/>
            <a:ext cx="3319477" cy="269408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6000" b="1" spc="-200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/>
          </p:nvPr>
        </p:nvSpPr>
        <p:spPr>
          <a:xfrm>
            <a:off x="468313" y="4507364"/>
            <a:ext cx="3319477" cy="486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296403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Blue">
    <p:bg>
      <p:bgPr>
        <a:solidFill>
          <a:srgbClr val="005E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7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13788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5263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Red">
    <p:bg>
      <p:bgPr>
        <a:solidFill>
          <a:srgbClr val="EF334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055876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164522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Yellow">
    <p:bg>
      <p:bgPr>
        <a:solidFill>
          <a:srgbClr val="FFCD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468313" y="1593555"/>
            <a:ext cx="8207375" cy="2196667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8" name="Straight Connector 4"/>
          <p:cNvCxnSpPr/>
          <p:nvPr userDrawn="1"/>
        </p:nvCxnSpPr>
        <p:spPr>
          <a:xfrm>
            <a:off x="468313" y="4873625"/>
            <a:ext cx="8207375" cy="0"/>
          </a:xfrm>
          <a:prstGeom prst="line">
            <a:avLst/>
          </a:prstGeom>
          <a:ln w="12700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46364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29888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640"/>
          <a:stretch/>
        </p:blipFill>
        <p:spPr>
          <a:xfrm>
            <a:off x="0" y="0"/>
            <a:ext cx="9144000" cy="5715000"/>
          </a:xfrm>
          <a:prstGeom prst="rect">
            <a:avLst/>
          </a:prstGeom>
        </p:spPr>
      </p:pic>
      <p:sp>
        <p:nvSpPr>
          <p:cNvPr id="18" name="Rectangle 17"/>
          <p:cNvSpPr/>
          <p:nvPr userDrawn="1"/>
        </p:nvSpPr>
        <p:spPr>
          <a:xfrm>
            <a:off x="0" y="0"/>
            <a:ext cx="9144000" cy="5715000"/>
          </a:xfrm>
          <a:prstGeom prst="rect">
            <a:avLst/>
          </a:prstGeom>
          <a:solidFill>
            <a:schemeClr val="bg1">
              <a:alpha val="63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273324"/>
            <a:ext cx="8207374" cy="332437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12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CBB682-87B2-4236-AF78-B49807E7713E}" type="datetime1">
              <a:rPr lang="fi-FI" smtClean="0"/>
              <a:t>15.2.2019</a:t>
            </a:fld>
            <a:endParaRPr lang="fi-FI"/>
          </a:p>
        </p:txBody>
      </p:sp>
      <p:sp>
        <p:nvSpPr>
          <p:cNvPr id="7" name="Footer Placeholder 1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1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EFD4B7-1CC6-864B-A72A-C978B70BBA9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2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13788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00309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261611"/>
            <a:ext cx="8207374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C36687-CBD3-415D-8421-2B5EAA963EBF}" type="datetime1">
              <a:rPr lang="fi-FI" smtClean="0"/>
              <a:t>15.2.2019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342AF8-94BF-6340-B60E-A8C5E9F87F0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34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055876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5021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BG image 3">
    <p:bg>
      <p:bgPr>
        <a:solidFill>
          <a:schemeClr val="tx1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68313" y="1417636"/>
            <a:ext cx="8207375" cy="295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495420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chemeClr val="bg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9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3056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4" y="1261611"/>
            <a:ext cx="8207374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6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C5285-7526-43D5-81FF-B1103F667C54}" type="datetime1">
              <a:rPr lang="fi-FI" smtClean="0"/>
              <a:t>15.2.2019</a:t>
            </a:fld>
            <a:endParaRPr lang="fi-FI"/>
          </a:p>
        </p:txBody>
      </p:sp>
      <p:sp>
        <p:nvSpPr>
          <p:cNvPr id="7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4BE77-5FCA-3844-8BD6-7ECE8B5BEE8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0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46364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7064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3308" y="265113"/>
            <a:ext cx="8212380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3308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0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0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6F12C3-4421-43A0-8844-8188FCFDF52F}" type="datetime1">
              <a:rPr lang="fi-FI" smtClean="0"/>
              <a:t>15.2.2019</a:t>
            </a:fld>
            <a:endParaRPr lang="fi-FI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79A8AE-7274-0C4A-AB42-92022833E6E2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005EB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13788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7701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14"/>
          </p:nvPr>
        </p:nvSpPr>
        <p:spPr>
          <a:xfrm>
            <a:off x="468313" y="1261611"/>
            <a:ext cx="3988079" cy="333664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049"/>
            <a:ext cx="3988079" cy="333664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14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F29C9-51F7-4E61-B7C7-5CEFA78BD6B3}" type="datetime1">
              <a:rPr lang="fi-FI" smtClean="0"/>
              <a:t>15.2.2019</a:t>
            </a:fld>
            <a:endParaRPr lang="fi-FI"/>
          </a:p>
        </p:txBody>
      </p:sp>
      <p:sp>
        <p:nvSpPr>
          <p:cNvPr id="8" name="Footer Placeholder 15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45180D-9F57-224F-AD9B-D6C47196F0C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EF334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055876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77237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996498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lnSpc>
                <a:spcPct val="85000"/>
              </a:lnSpc>
              <a:defRPr sz="3600" b="1" spc="-100">
                <a:solidFill>
                  <a:srgbClr val="0065BD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8313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2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FBD0ED-27AA-4BEE-8827-0A59147D95E5}" type="datetime1">
              <a:rPr lang="fi-FI" smtClean="0"/>
              <a:t>15.2.2019</a:t>
            </a:fld>
            <a:endParaRPr lang="fi-FI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65D404-ADF5-A94E-82B6-70B84D261D76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cxnSp>
        <p:nvCxnSpPr>
          <p:cNvPr id="13" name="Straight Connector 4"/>
          <p:cNvCxnSpPr/>
          <p:nvPr userDrawn="1"/>
        </p:nvCxnSpPr>
        <p:spPr>
          <a:xfrm>
            <a:off x="468313" y="4873007"/>
            <a:ext cx="8207375" cy="0"/>
          </a:xfrm>
          <a:prstGeom prst="line">
            <a:avLst/>
          </a:prstGeom>
          <a:ln w="12700" cmpd="sng">
            <a:solidFill>
              <a:srgbClr val="FFCD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10"/>
          <p:cNvSpPr>
            <a:spLocks noGrp="1"/>
          </p:cNvSpPr>
          <p:nvPr>
            <p:ph sz="quarter" idx="18"/>
          </p:nvPr>
        </p:nvSpPr>
        <p:spPr>
          <a:xfrm>
            <a:off x="4687609" y="1261611"/>
            <a:ext cx="3988079" cy="333608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None/>
              <a:defRPr sz="2100" b="1">
                <a:latin typeface="+mj-lt"/>
              </a:defRPr>
            </a:lvl1pPr>
            <a:lvl2pPr marL="237600" indent="-212400">
              <a:buFont typeface="Arial"/>
              <a:buChar char="•"/>
              <a:defRPr sz="2000">
                <a:latin typeface="Georgia"/>
              </a:defRPr>
            </a:lvl2pPr>
            <a:lvl3pPr marL="460800" indent="-230400">
              <a:buFont typeface="Lucida Grande"/>
              <a:buChar char="-"/>
              <a:defRPr sz="1600" i="1">
                <a:latin typeface="Georgia"/>
                <a:cs typeface="Georgia"/>
              </a:defRPr>
            </a:lvl3pPr>
            <a:lvl4pPr marL="792000" indent="-194400">
              <a:buFont typeface="Arial"/>
              <a:buChar char="•"/>
              <a:defRPr sz="1400" baseline="0">
                <a:latin typeface="Georgia"/>
              </a:defRPr>
            </a:lvl4pPr>
            <a:lvl5pPr marL="1087200" indent="-228600">
              <a:buFont typeface="Courier New"/>
              <a:buChar char="o"/>
              <a:defRPr sz="1300" baseline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pic>
        <p:nvPicPr>
          <p:cNvPr id="12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00" y="4712400"/>
            <a:ext cx="2146364" cy="964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81938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rgbClr val="005EB8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88448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770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rgbClr val="EF334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79423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8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4649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Yellow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468312" y="1418400"/>
            <a:ext cx="8208000" cy="29520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lnSpc>
                <a:spcPct val="80000"/>
              </a:lnSpc>
              <a:defRPr sz="7200" b="1" spc="-200">
                <a:solidFill>
                  <a:srgbClr val="FFCD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468314" y="4429748"/>
            <a:ext cx="5388448" cy="6600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sz="1600" i="1">
                <a:solidFill>
                  <a:srgbClr val="928B81"/>
                </a:solidFill>
                <a:latin typeface="Georgia"/>
                <a:cs typeface="Georgi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0" y="0"/>
            <a:ext cx="1654175" cy="1516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0461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3" Type="http://schemas.openxmlformats.org/officeDocument/2006/relationships/slideLayout" Target="../slideLayouts/slideLayout45.xml"/><Relationship Id="rId21" Type="http://schemas.openxmlformats.org/officeDocument/2006/relationships/slideLayout" Target="../slideLayouts/slideLayout63.xml"/><Relationship Id="rId7" Type="http://schemas.openxmlformats.org/officeDocument/2006/relationships/slideLayout" Target="../slideLayouts/slideLayout49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0" Type="http://schemas.openxmlformats.org/officeDocument/2006/relationships/slideLayout" Target="../slideLayouts/slideLayout62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53.xml"/><Relationship Id="rId5" Type="http://schemas.openxmlformats.org/officeDocument/2006/relationships/slideLayout" Target="../slideLayouts/slideLayout47.xml"/><Relationship Id="rId15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5017740"/>
            <a:ext cx="3619500" cy="13229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5150032"/>
            <a:ext cx="3619500" cy="15478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15.2.2019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5304814"/>
            <a:ext cx="3619500" cy="1349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747" r:id="rId1"/>
    <p:sldLayoutId id="2147484748" r:id="rId2"/>
    <p:sldLayoutId id="2147484749" r:id="rId3"/>
    <p:sldLayoutId id="2147484750" r:id="rId4"/>
    <p:sldLayoutId id="2147484751" r:id="rId5"/>
    <p:sldLayoutId id="2147484752" r:id="rId6"/>
    <p:sldLayoutId id="2147484753" r:id="rId7"/>
    <p:sldLayoutId id="2147484754" r:id="rId8"/>
    <p:sldLayoutId id="2147484755" r:id="rId9"/>
    <p:sldLayoutId id="2147484756" r:id="rId10"/>
    <p:sldLayoutId id="2147484757" r:id="rId11"/>
    <p:sldLayoutId id="2147484758" r:id="rId12"/>
    <p:sldLayoutId id="2147484759" r:id="rId13"/>
    <p:sldLayoutId id="2147484760" r:id="rId14"/>
    <p:sldLayoutId id="2147484761" r:id="rId15"/>
    <p:sldLayoutId id="2147484762" r:id="rId16"/>
    <p:sldLayoutId id="2147484763" r:id="rId17"/>
    <p:sldLayoutId id="2147484764" r:id="rId18"/>
    <p:sldLayoutId id="2147484765" r:id="rId19"/>
    <p:sldLayoutId id="2147484766" r:id="rId20"/>
    <p:sldLayoutId id="2147484767" r:id="rId21"/>
  </p:sldLayoutIdLst>
  <p:hf hdr="0" ft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4940300" y="4960937"/>
            <a:ext cx="3619500" cy="13229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4940300" y="5093229"/>
            <a:ext cx="3619500" cy="15478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E6C4FC2-043E-0E44-BD9B-2431B69F8AA0}" type="datetime1">
              <a:rPr lang="fi-FI"/>
              <a:pPr>
                <a:defRPr/>
              </a:pPr>
              <a:t>15.2.2019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4940300" y="5248011"/>
            <a:ext cx="3619500" cy="1349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7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78228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9" r:id="rId1"/>
    <p:sldLayoutId id="2147484770" r:id="rId2"/>
    <p:sldLayoutId id="2147484771" r:id="rId3"/>
    <p:sldLayoutId id="2147484772" r:id="rId4"/>
    <p:sldLayoutId id="2147484773" r:id="rId5"/>
    <p:sldLayoutId id="2147484774" r:id="rId6"/>
    <p:sldLayoutId id="2147484775" r:id="rId7"/>
    <p:sldLayoutId id="2147484776" r:id="rId8"/>
    <p:sldLayoutId id="2147484777" r:id="rId9"/>
    <p:sldLayoutId id="2147484778" r:id="rId10"/>
    <p:sldLayoutId id="2147484779" r:id="rId11"/>
    <p:sldLayoutId id="2147484780" r:id="rId12"/>
    <p:sldLayoutId id="2147484781" r:id="rId13"/>
    <p:sldLayoutId id="2147484782" r:id="rId14"/>
    <p:sldLayoutId id="2147484783" r:id="rId15"/>
    <p:sldLayoutId id="2147484784" r:id="rId16"/>
    <p:sldLayoutId id="2147484785" r:id="rId17"/>
    <p:sldLayoutId id="2147484786" r:id="rId18"/>
    <p:sldLayoutId id="2147484787" r:id="rId19"/>
    <p:sldLayoutId id="2147484788" r:id="rId20"/>
    <p:sldLayoutId id="2147484789" r:id="rId21"/>
  </p:sldLayoutIdLst>
  <p:hf hdr="0" ftr="0"/>
  <p:txStyles>
    <p:titleStyle>
      <a:lvl1pPr algn="ctr" defTabSz="380985" rtl="0" eaLnBrk="1" fontAlgn="base" hangingPunct="1">
        <a:spcBef>
          <a:spcPct val="0"/>
        </a:spcBef>
        <a:spcAft>
          <a:spcPct val="0"/>
        </a:spcAft>
        <a:defRPr sz="3667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380985"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761970"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142954"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523939" algn="ctr" defTabSz="380985" rtl="0" eaLnBrk="1" fontAlgn="base" hangingPunct="1">
        <a:spcBef>
          <a:spcPct val="0"/>
        </a:spcBef>
        <a:spcAft>
          <a:spcPct val="0"/>
        </a:spcAft>
        <a:defRPr sz="3667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285739" indent="-285739" algn="l" defTabSz="38098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667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619100" indent="-238115" algn="l" defTabSz="38098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333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952462" indent="-190492" algn="l" defTabSz="38098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333447" indent="-190492" algn="l" defTabSz="38098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667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1714431" indent="-190492" algn="l" defTabSz="380985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67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095416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6pPr>
      <a:lvl7pPr marL="2476401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7pPr>
      <a:lvl8pPr marL="2857386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8pPr>
      <a:lvl9pPr marL="3238370" indent="-190492" algn="l" defTabSz="380985" rtl="0" eaLnBrk="1" latinLnBrk="0" hangingPunct="1">
        <a:spcBef>
          <a:spcPct val="20000"/>
        </a:spcBef>
        <a:buFont typeface="Arial"/>
        <a:buChar char="•"/>
        <a:defRPr sz="1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0985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61970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42954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23939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04924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85909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666893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047878" algn="l" defTabSz="380985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5056956" y="5017740"/>
            <a:ext cx="3619500" cy="13229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"/>
          </p:nvPr>
        </p:nvSpPr>
        <p:spPr>
          <a:xfrm>
            <a:off x="5056956" y="5150032"/>
            <a:ext cx="3619500" cy="154782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ED520173-7D7F-4FBC-A781-33E654CAA422}" type="datetime1">
              <a:rPr lang="fi-FI" smtClean="0"/>
              <a:t>15.2.2019</a:t>
            </a:fld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"/>
          </p:nvPr>
        </p:nvSpPr>
        <p:spPr>
          <a:xfrm>
            <a:off x="5056956" y="5304814"/>
            <a:ext cx="3619500" cy="134938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805BCDE0-955E-2A43-932A-046BF80DB991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10358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1" r:id="rId1"/>
    <p:sldLayoutId id="2147484792" r:id="rId2"/>
    <p:sldLayoutId id="2147484793" r:id="rId3"/>
    <p:sldLayoutId id="2147484794" r:id="rId4"/>
    <p:sldLayoutId id="2147484795" r:id="rId5"/>
    <p:sldLayoutId id="2147484796" r:id="rId6"/>
    <p:sldLayoutId id="2147484797" r:id="rId7"/>
    <p:sldLayoutId id="2147484798" r:id="rId8"/>
    <p:sldLayoutId id="2147484799" r:id="rId9"/>
    <p:sldLayoutId id="2147484800" r:id="rId10"/>
    <p:sldLayoutId id="2147484801" r:id="rId11"/>
    <p:sldLayoutId id="2147484802" r:id="rId12"/>
    <p:sldLayoutId id="2147484803" r:id="rId13"/>
    <p:sldLayoutId id="2147484804" r:id="rId14"/>
    <p:sldLayoutId id="2147484805" r:id="rId15"/>
    <p:sldLayoutId id="2147484806" r:id="rId16"/>
    <p:sldLayoutId id="2147484807" r:id="rId17"/>
    <p:sldLayoutId id="2147484808" r:id="rId18"/>
    <p:sldLayoutId id="2147484809" r:id="rId19"/>
    <p:sldLayoutId id="2147484810" r:id="rId20"/>
    <p:sldLayoutId id="2147484811" r:id="rId21"/>
  </p:sldLayoutIdLst>
  <p:hf hdr="0" ft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MS PGothic" pitchFamily="34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charset="0"/>
          <a:cs typeface="MS PGothic" pitchFamily="34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-65" charset="0"/>
          <a:ea typeface="ＭＳ Ｐゴシック" pitchFamily="-65" charset="-128"/>
          <a:cs typeface="ＭＳ Ｐゴシック" pitchFamily="-65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MS PGothic" pitchFamily="34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g"/><Relationship Id="rId13" Type="http://schemas.openxmlformats.org/officeDocument/2006/relationships/image" Target="../media/image33.png"/><Relationship Id="rId3" Type="http://schemas.openxmlformats.org/officeDocument/2006/relationships/tags" Target="../tags/tag11.xml"/><Relationship Id="rId7" Type="http://schemas.openxmlformats.org/officeDocument/2006/relationships/image" Target="../media/image28.png"/><Relationship Id="rId12" Type="http://schemas.openxmlformats.org/officeDocument/2006/relationships/image" Target="../media/image32.png"/><Relationship Id="rId2" Type="http://schemas.openxmlformats.org/officeDocument/2006/relationships/tags" Target="../tags/tag10.xml"/><Relationship Id="rId16" Type="http://schemas.openxmlformats.org/officeDocument/2006/relationships/image" Target="../media/image35.png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11" Type="http://schemas.microsoft.com/office/2007/relationships/hdphoto" Target="../media/hdphoto1.wdp"/><Relationship Id="rId5" Type="http://schemas.openxmlformats.org/officeDocument/2006/relationships/oleObject" Target="../embeddings/oleObject5.bin"/><Relationship Id="rId15" Type="http://schemas.openxmlformats.org/officeDocument/2006/relationships/image" Target="../media/image34.jpg"/><Relationship Id="rId10" Type="http://schemas.openxmlformats.org/officeDocument/2006/relationships/image" Target="../media/image31.png"/><Relationship Id="rId4" Type="http://schemas.openxmlformats.org/officeDocument/2006/relationships/slideLayout" Target="../slideLayouts/slideLayout58.xml"/><Relationship Id="rId9" Type="http://schemas.openxmlformats.org/officeDocument/2006/relationships/image" Target="../media/image30.png"/><Relationship Id="rId1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13.xml"/><Relationship Id="rId7" Type="http://schemas.openxmlformats.org/officeDocument/2006/relationships/image" Target="../media/image10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5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1235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0000"/>
              </a:lnSpc>
            </a:pPr>
            <a:endParaRPr lang="en-US" sz="6000" b="1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sz="6000" dirty="0" smtClean="0"/>
              <a:t>Service development at Aalto University</a:t>
            </a:r>
            <a:endParaRPr lang="fi-FI" sz="6000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468314" y="4297660"/>
            <a:ext cx="5495420" cy="660000"/>
          </a:xfrm>
        </p:spPr>
        <p:txBody>
          <a:bodyPr>
            <a:normAutofit lnSpcReduction="10000"/>
          </a:bodyPr>
          <a:lstStyle/>
          <a:p>
            <a:r>
              <a:rPr lang="en-US" dirty="0" smtClean="0"/>
              <a:t>Jarkko Niittumaa, Service Portfolio Lead</a:t>
            </a:r>
          </a:p>
          <a:p>
            <a:r>
              <a:rPr lang="en-US" dirty="0"/>
              <a:t>j</a:t>
            </a:r>
            <a:r>
              <a:rPr lang="en-US" dirty="0" smtClean="0"/>
              <a:t>arkko.Niittumaa@aalto.fi</a:t>
            </a:r>
            <a:br>
              <a:rPr lang="en-US" dirty="0" smtClean="0"/>
            </a:br>
            <a:r>
              <a:rPr lang="en-US" dirty="0" smtClean="0"/>
              <a:t>050-5994814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5524500" y="5149850"/>
            <a:ext cx="3619500" cy="155575"/>
          </a:xfrm>
        </p:spPr>
        <p:txBody>
          <a:bodyPr/>
          <a:lstStyle/>
          <a:p>
            <a:pPr>
              <a:defRPr/>
            </a:pPr>
            <a:fld id="{24CBB682-87B2-4236-AF78-B49807E7713E}" type="datetime1">
              <a:rPr lang="fi-FI" smtClean="0"/>
              <a:t>15.2.2019</a:t>
            </a:fld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5524500" y="5305425"/>
            <a:ext cx="3619500" cy="134938"/>
          </a:xfrm>
        </p:spPr>
        <p:txBody>
          <a:bodyPr/>
          <a:lstStyle/>
          <a:p>
            <a:pPr>
              <a:defRPr/>
            </a:pPr>
            <a:fld id="{49EFD4B7-1CC6-864B-A72A-C978B70BBA9B}" type="slidenum">
              <a:rPr lang="fi-FI" smtClean="0"/>
              <a:pPr>
                <a:defRPr/>
              </a:pPr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06309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515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3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85000"/>
              </a:lnSpc>
            </a:pPr>
            <a:endParaRPr lang="en-US" sz="3200" b="1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5020812" y="985292"/>
            <a:ext cx="4015684" cy="841195"/>
          </a:xfrm>
          <a:prstGeom prst="rect">
            <a:avLst/>
          </a:prstGeom>
          <a:noFill/>
          <a:ln>
            <a:noFill/>
            <a:headEnd type="none" w="sm" len="sm"/>
            <a:tailEnd type="none" w="sm" len="sm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6000" rIns="108000" bIns="35996" anchor="t"/>
          <a:lstStyle/>
          <a:p>
            <a:pPr marL="171450" indent="-171450"/>
            <a:r>
              <a:rPr lang="en-US" sz="900" b="1" dirty="0" smtClean="0">
                <a:solidFill>
                  <a:schemeClr val="tx1"/>
                </a:solidFill>
              </a:rPr>
              <a:t>Services Steering Group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900" dirty="0">
                <a:ea typeface="Arial Hebrew Scholar" charset="-79"/>
                <a:cs typeface="Arial Hebrew Scholar" charset="-79"/>
              </a:rPr>
              <a:t>Prepares and coordinates the implementation of the university strategy</a:t>
            </a:r>
            <a:endParaRPr lang="en-US" sz="900" dirty="0" smtClean="0">
              <a:solidFill>
                <a:schemeClr val="tx1"/>
              </a:solidFill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ea typeface="Arial Hebrew Scholar" charset="-79"/>
                <a:cs typeface="Arial Hebrew Scholar" charset="-79"/>
              </a:rPr>
              <a:t>Prepares, coordinates and monitors service development and activities: service portfolio, </a:t>
            </a:r>
            <a:r>
              <a:rPr lang="en-US" sz="900" dirty="0" smtClean="0">
                <a:ea typeface="Arial Hebrew Scholar" charset="-79"/>
                <a:cs typeface="Arial Hebrew Scholar" charset="-79"/>
              </a:rPr>
              <a:t>service offering, service levels, </a:t>
            </a:r>
            <a:r>
              <a:rPr lang="en-US" sz="900" dirty="0">
                <a:ea typeface="Arial Hebrew Scholar" charset="-79"/>
                <a:cs typeface="Arial Hebrew Scholar" charset="-79"/>
              </a:rPr>
              <a:t>and </a:t>
            </a:r>
            <a:r>
              <a:rPr lang="en-US" sz="900" dirty="0" smtClean="0">
                <a:ea typeface="Arial Hebrew Scholar" charset="-79"/>
                <a:cs typeface="Arial Hebrew Scholar" charset="-79"/>
              </a:rPr>
              <a:t>organization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ea typeface="Arial Hebrew Scholar" charset="-79"/>
                <a:cs typeface="Arial Hebrew Scholar" charset="-79"/>
              </a:rPr>
              <a:t>Gives academic guidance for </a:t>
            </a:r>
            <a:r>
              <a:rPr lang="en-US" sz="900" dirty="0" smtClean="0">
                <a:ea typeface="Arial Hebrew Scholar" charset="-79"/>
                <a:cs typeface="Arial Hebrew Scholar" charset="-79"/>
              </a:rPr>
              <a:t>user-centered </a:t>
            </a:r>
            <a:r>
              <a:rPr lang="en-US" sz="900" dirty="0">
                <a:ea typeface="Arial Hebrew Scholar" charset="-79"/>
                <a:cs typeface="Arial Hebrew Scholar" charset="-79"/>
              </a:rPr>
              <a:t>development of services </a:t>
            </a:r>
            <a:endParaRPr lang="en-US" sz="900" dirty="0" smtClean="0">
              <a:ea typeface="Arial Hebrew Scholar" charset="-79"/>
              <a:cs typeface="Arial Hebrew Scholar" charset="-79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ea typeface="Arial Hebrew Scholar" charset="-79"/>
                <a:cs typeface="Arial Hebrew Scholar" charset="-79"/>
              </a:rPr>
              <a:t>Shares best practices and aligns cross-cutting activities and projects</a:t>
            </a:r>
            <a:br>
              <a:rPr lang="en-US" sz="900" dirty="0">
                <a:ea typeface="Arial Hebrew Scholar" charset="-79"/>
                <a:cs typeface="Arial Hebrew Scholar" charset="-79"/>
              </a:rPr>
            </a:br>
            <a:endParaRPr lang="en-US" sz="900" dirty="0">
              <a:ea typeface="Arial Hebrew Scholar" charset="-79"/>
              <a:cs typeface="Arial Hebrew Scholar" charset="-79"/>
            </a:endParaRPr>
          </a:p>
          <a:p>
            <a:pPr marL="457200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900" dirty="0">
              <a:ea typeface="Arial Hebrew Scholar" charset="-79"/>
              <a:cs typeface="Arial Hebrew Scholar" charset="-79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sz="300" dirty="0">
              <a:ea typeface="Arial Hebrew Scholar" charset="-79"/>
              <a:cs typeface="Arial Hebrew Scholar" charset="-79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8313" y="265113"/>
            <a:ext cx="8207375" cy="607219"/>
          </a:xfrm>
        </p:spPr>
        <p:txBody>
          <a:bodyPr/>
          <a:lstStyle/>
          <a:p>
            <a:r>
              <a:rPr lang="en-US" sz="3200" dirty="0" smtClean="0"/>
              <a:t>Service development organization</a:t>
            </a:r>
            <a:endParaRPr lang="fi-FI" sz="3200" dirty="0"/>
          </a:p>
        </p:txBody>
      </p:sp>
      <p:sp>
        <p:nvSpPr>
          <p:cNvPr id="15" name="Isosceles Triangle 14"/>
          <p:cNvSpPr/>
          <p:nvPr/>
        </p:nvSpPr>
        <p:spPr>
          <a:xfrm>
            <a:off x="1364152" y="1097380"/>
            <a:ext cx="1968353" cy="966308"/>
          </a:xfrm>
          <a:prstGeom prst="triangle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23" name="Flowchart: Manual Operation 22"/>
          <p:cNvSpPr/>
          <p:nvPr/>
        </p:nvSpPr>
        <p:spPr>
          <a:xfrm rot="10800000">
            <a:off x="493033" y="2193828"/>
            <a:ext cx="3790934" cy="663671"/>
          </a:xfrm>
          <a:prstGeom prst="flowChartManualOperation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>
              <a:solidFill>
                <a:schemeClr val="bg1"/>
              </a:solidFill>
              <a:latin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43915" y="2954970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>
                <a:solidFill>
                  <a:schemeClr val="bg1"/>
                </a:solidFill>
                <a:latin typeface="Arial"/>
              </a:rPr>
              <a:t>HR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894209" y="2954970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 smtClean="0">
                <a:solidFill>
                  <a:schemeClr val="bg1"/>
                </a:solidFill>
                <a:latin typeface="Arial"/>
              </a:rPr>
              <a:t>I</a:t>
            </a:r>
          </a:p>
          <a:p>
            <a:r>
              <a:rPr lang="en-US" sz="1200" b="1" dirty="0" smtClean="0">
                <a:solidFill>
                  <a:schemeClr val="bg1"/>
                </a:solidFill>
                <a:latin typeface="Arial"/>
              </a:rPr>
              <a:t>T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93621" y="2954970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 smtClean="0">
                <a:solidFill>
                  <a:schemeClr val="bg1"/>
                </a:solidFill>
                <a:latin typeface="Arial"/>
              </a:rPr>
              <a:t>F</a:t>
            </a:r>
          </a:p>
          <a:p>
            <a:r>
              <a:rPr lang="en-US" sz="1200" b="1" dirty="0" smtClean="0">
                <a:solidFill>
                  <a:schemeClr val="bg1"/>
                </a:solidFill>
                <a:latin typeface="Arial"/>
              </a:rPr>
              <a:t>I</a:t>
            </a:r>
          </a:p>
          <a:p>
            <a:r>
              <a:rPr lang="en-US" sz="1200" b="1" dirty="0" smtClean="0">
                <a:solidFill>
                  <a:schemeClr val="bg1"/>
                </a:solidFill>
                <a:latin typeface="Arial"/>
              </a:rPr>
              <a:t>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43327" y="2954970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>
                <a:solidFill>
                  <a:schemeClr val="bg1"/>
                </a:solidFill>
                <a:latin typeface="Arial"/>
              </a:rPr>
              <a:t>CO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945091" y="2954970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 smtClean="0">
                <a:solidFill>
                  <a:schemeClr val="bg1"/>
                </a:solidFill>
                <a:latin typeface="Arial"/>
              </a:rPr>
              <a:t>R</a:t>
            </a:r>
          </a:p>
          <a:p>
            <a:r>
              <a:rPr lang="en-US" sz="1200" b="1" dirty="0" smtClean="0">
                <a:solidFill>
                  <a:schemeClr val="bg1"/>
                </a:solidFill>
                <a:latin typeface="Arial"/>
              </a:rPr>
              <a:t>I</a:t>
            </a:r>
          </a:p>
          <a:p>
            <a:r>
              <a:rPr lang="en-US" sz="1200" b="1" dirty="0" smtClean="0">
                <a:solidFill>
                  <a:schemeClr val="bg1"/>
                </a:solidFill>
                <a:latin typeface="Arial"/>
              </a:rPr>
              <a:t>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244503" y="2954970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>
                <a:solidFill>
                  <a:schemeClr val="bg1"/>
                </a:solidFill>
                <a:latin typeface="Arial"/>
              </a:rPr>
              <a:t>LE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93033" y="2954971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>
                <a:solidFill>
                  <a:schemeClr val="bg1"/>
                </a:solidFill>
                <a:latin typeface="Arial"/>
              </a:rPr>
              <a:t>CA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295385" y="2954971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>
                <a:solidFill>
                  <a:schemeClr val="bg1"/>
                </a:solidFill>
                <a:latin typeface="Arial"/>
              </a:rPr>
              <a:t>TS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594797" y="2954971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>
                <a:solidFill>
                  <a:schemeClr val="bg1"/>
                </a:solidFill>
                <a:latin typeface="Arial"/>
              </a:rPr>
              <a:t>LS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645679" y="2954970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>
                <a:solidFill>
                  <a:schemeClr val="bg1"/>
                </a:solidFill>
                <a:latin typeface="Arial"/>
              </a:rPr>
              <a:t>SE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995968" y="2954970"/>
            <a:ext cx="288000" cy="7920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r>
              <a:rPr lang="en-US" sz="1200" b="1" dirty="0">
                <a:solidFill>
                  <a:schemeClr val="bg1"/>
                </a:solidFill>
                <a:latin typeface="Arial"/>
              </a:rPr>
              <a:t>SSS</a:t>
            </a:r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380776" y="1097380"/>
            <a:ext cx="2518964" cy="1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V="1">
            <a:off x="3604099" y="2203599"/>
            <a:ext cx="1295641" cy="1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Rectangle 45"/>
          <p:cNvSpPr/>
          <p:nvPr/>
        </p:nvSpPr>
        <p:spPr>
          <a:xfrm>
            <a:off x="5020812" y="2073459"/>
            <a:ext cx="4015684" cy="841195"/>
          </a:xfrm>
          <a:prstGeom prst="rect">
            <a:avLst/>
          </a:prstGeom>
          <a:noFill/>
          <a:ln>
            <a:noFill/>
            <a:headEnd type="none" w="sm" len="sm"/>
            <a:tailEnd type="none" w="sm" len="sm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6000" rIns="108000" bIns="35996" anchor="t"/>
          <a:lstStyle/>
          <a:p>
            <a:pPr marL="171450" indent="-171450"/>
            <a:r>
              <a:rPr lang="en-US" sz="900" b="1" dirty="0" smtClean="0">
                <a:solidFill>
                  <a:schemeClr val="tx1"/>
                </a:solidFill>
              </a:rPr>
              <a:t>Services development network (in development)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endParaRPr lang="en-US" sz="900" dirty="0" smtClean="0">
              <a:ea typeface="Arial Hebrew Scholar" charset="-79"/>
              <a:cs typeface="Arial Hebrew Scholar" charset="-79"/>
            </a:endParaRPr>
          </a:p>
          <a:p>
            <a:pPr marL="179388" lvl="1" indent="-179388"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prstClr val="black"/>
                </a:solidFill>
              </a:rPr>
              <a:t>Support </a:t>
            </a:r>
            <a:r>
              <a:rPr lang="en-US" sz="900" dirty="0" smtClean="0">
                <a:solidFill>
                  <a:prstClr val="black"/>
                </a:solidFill>
              </a:rPr>
              <a:t>cross-functional </a:t>
            </a:r>
            <a:r>
              <a:rPr lang="en-US" sz="900" dirty="0">
                <a:solidFill>
                  <a:prstClr val="black"/>
                </a:solidFill>
              </a:rPr>
              <a:t>service development</a:t>
            </a:r>
          </a:p>
          <a:p>
            <a:pPr marL="179388" lvl="1" indent="-179388"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prstClr val="black"/>
                </a:solidFill>
              </a:rPr>
              <a:t>Identify synergies and drive cross-functional best practice sharing</a:t>
            </a:r>
          </a:p>
          <a:p>
            <a:pPr marL="179388" lvl="1" indent="-179388"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prstClr val="black"/>
                </a:solidFill>
              </a:rPr>
              <a:t>Manage joint service development initiatives</a:t>
            </a:r>
          </a:p>
          <a:p>
            <a:pPr marL="179388" lvl="1" indent="-179388">
              <a:buFont typeface="Wingdings" panose="05000000000000000000" pitchFamily="2" charset="2"/>
              <a:buChar char="§"/>
              <a:defRPr/>
            </a:pPr>
            <a:r>
              <a:rPr lang="en-US" sz="900" dirty="0">
                <a:solidFill>
                  <a:prstClr val="black"/>
                </a:solidFill>
              </a:rPr>
              <a:t>Act as process owners for key user groups </a:t>
            </a:r>
            <a:r>
              <a:rPr lang="en-US" sz="900" dirty="0">
                <a:ea typeface="Arial Hebrew Scholar" charset="-79"/>
                <a:cs typeface="Arial Hebrew Scholar" charset="-79"/>
              </a:rPr>
              <a:t/>
            </a:r>
            <a:br>
              <a:rPr lang="en-US" sz="900" dirty="0">
                <a:ea typeface="Arial Hebrew Scholar" charset="-79"/>
                <a:cs typeface="Arial Hebrew Scholar" charset="-79"/>
              </a:rPr>
            </a:br>
            <a:endParaRPr lang="en-US" sz="900" dirty="0">
              <a:ea typeface="Arial Hebrew Scholar" charset="-79"/>
              <a:cs typeface="Arial Hebrew Scholar" charset="-79"/>
            </a:endParaRPr>
          </a:p>
          <a:p>
            <a:pPr marL="457200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900" dirty="0">
              <a:ea typeface="Arial Hebrew Scholar" charset="-79"/>
              <a:cs typeface="Arial Hebrew Scholar" charset="-79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sz="300" dirty="0">
              <a:ea typeface="Arial Hebrew Scholar" charset="-79"/>
              <a:cs typeface="Arial Hebrew Scholar" charset="-79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4298127" y="3248489"/>
            <a:ext cx="601613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5020812" y="3176480"/>
            <a:ext cx="4015684" cy="697179"/>
          </a:xfrm>
          <a:prstGeom prst="rect">
            <a:avLst/>
          </a:prstGeom>
          <a:noFill/>
          <a:ln>
            <a:noFill/>
            <a:headEnd type="none" w="sm" len="sm"/>
            <a:tailEnd type="none" w="sm" len="sm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6000" rIns="108000" bIns="35996" anchor="t"/>
          <a:lstStyle/>
          <a:p>
            <a:pPr marL="171450" indent="-171450"/>
            <a:r>
              <a:rPr lang="en-US" sz="900" b="1" dirty="0" smtClean="0">
                <a:solidFill>
                  <a:schemeClr val="tx1"/>
                </a:solidFill>
              </a:rPr>
              <a:t>Service function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900" dirty="0" smtClean="0">
                <a:ea typeface="Arial Hebrew Scholar" charset="-79"/>
                <a:cs typeface="Arial Hebrew Scholar" charset="-79"/>
              </a:rPr>
              <a:t>Manage and prioritize functional service development initiativ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900" dirty="0" smtClean="0">
                <a:ea typeface="Arial Hebrew Scholar" charset="-79"/>
                <a:cs typeface="Arial Hebrew Scholar" charset="-79"/>
              </a:rPr>
              <a:t>Identify functional synergies and share best practices across teams</a:t>
            </a:r>
          </a:p>
          <a:p>
            <a:r>
              <a:rPr lang="en-US" sz="900" dirty="0">
                <a:ea typeface="Arial Hebrew Scholar" charset="-79"/>
                <a:cs typeface="Arial Hebrew Scholar" charset="-79"/>
              </a:rPr>
              <a:t/>
            </a:r>
            <a:br>
              <a:rPr lang="en-US" sz="900" dirty="0">
                <a:ea typeface="Arial Hebrew Scholar" charset="-79"/>
                <a:cs typeface="Arial Hebrew Scholar" charset="-79"/>
              </a:rPr>
            </a:br>
            <a:endParaRPr lang="en-US" sz="900" dirty="0">
              <a:ea typeface="Arial Hebrew Scholar" charset="-79"/>
              <a:cs typeface="Arial Hebrew Scholar" charset="-79"/>
            </a:endParaRPr>
          </a:p>
          <a:p>
            <a:pPr marL="457200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900" dirty="0">
              <a:ea typeface="Arial Hebrew Scholar" charset="-79"/>
              <a:cs typeface="Arial Hebrew Scholar" charset="-79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sz="300" dirty="0">
              <a:ea typeface="Arial Hebrew Scholar" charset="-79"/>
              <a:cs typeface="Arial Hebrew Scholar" charset="-79"/>
            </a:endParaRPr>
          </a:p>
        </p:txBody>
      </p:sp>
      <p:cxnSp>
        <p:nvCxnSpPr>
          <p:cNvPr id="50" name="Straight Connector 49"/>
          <p:cNvCxnSpPr/>
          <p:nvPr/>
        </p:nvCxnSpPr>
        <p:spPr>
          <a:xfrm>
            <a:off x="4298127" y="3847454"/>
            <a:ext cx="601613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ctangle 50"/>
          <p:cNvSpPr/>
          <p:nvPr/>
        </p:nvSpPr>
        <p:spPr>
          <a:xfrm>
            <a:off x="5018983" y="3775445"/>
            <a:ext cx="4015684" cy="697179"/>
          </a:xfrm>
          <a:prstGeom prst="rect">
            <a:avLst/>
          </a:prstGeom>
          <a:noFill/>
          <a:ln>
            <a:noFill/>
            <a:headEnd type="none" w="sm" len="sm"/>
            <a:tailEnd type="none" w="sm" len="sm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6000" rIns="108000" bIns="35996" anchor="t"/>
          <a:lstStyle/>
          <a:p>
            <a:pPr marL="171450" indent="-171450"/>
            <a:r>
              <a:rPr lang="en-US" sz="900" b="1" dirty="0" smtClean="0">
                <a:solidFill>
                  <a:schemeClr val="tx1"/>
                </a:solidFill>
              </a:rPr>
              <a:t>Service team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900" dirty="0">
                <a:ea typeface="Arial Hebrew Scholar" charset="-79"/>
                <a:cs typeface="Arial Hebrew Scholar" charset="-79"/>
              </a:rPr>
              <a:t>D</a:t>
            </a:r>
            <a:r>
              <a:rPr lang="en-US" sz="900" dirty="0" smtClean="0">
                <a:ea typeface="Arial Hebrew Scholar" charset="-79"/>
                <a:cs typeface="Arial Hebrew Scholar" charset="-79"/>
              </a:rPr>
              <a:t>rive process optimization and service developmen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900" dirty="0" smtClean="0">
                <a:ea typeface="Arial Hebrew Scholar" charset="-79"/>
                <a:cs typeface="Arial Hebrew Scholar" charset="-79"/>
              </a:rPr>
              <a:t>Continuously improve ways of working, communication and collaboration</a:t>
            </a:r>
          </a:p>
          <a:p>
            <a:pPr marL="457200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900" dirty="0">
              <a:ea typeface="Arial Hebrew Scholar" charset="-79"/>
              <a:cs typeface="Arial Hebrew Scholar" charset="-79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sz="300" dirty="0">
              <a:ea typeface="Arial Hebrew Scholar" charset="-79"/>
              <a:cs typeface="Arial Hebrew Scholar" charset="-79"/>
            </a:endParaRPr>
          </a:p>
        </p:txBody>
      </p:sp>
      <p:cxnSp>
        <p:nvCxnSpPr>
          <p:cNvPr id="52" name="Straight Connector 51"/>
          <p:cNvCxnSpPr/>
          <p:nvPr/>
        </p:nvCxnSpPr>
        <p:spPr>
          <a:xfrm>
            <a:off x="4318841" y="4328611"/>
            <a:ext cx="580899" cy="149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Rectangle 52"/>
          <p:cNvSpPr/>
          <p:nvPr/>
        </p:nvSpPr>
        <p:spPr>
          <a:xfrm>
            <a:off x="5029597" y="4256600"/>
            <a:ext cx="4015684" cy="697179"/>
          </a:xfrm>
          <a:prstGeom prst="rect">
            <a:avLst/>
          </a:prstGeom>
          <a:noFill/>
          <a:ln>
            <a:noFill/>
            <a:headEnd type="none" w="sm" len="sm"/>
            <a:tailEnd type="none" w="sm" len="sm"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6000" rIns="108000" bIns="35996" anchor="t"/>
          <a:lstStyle/>
          <a:p>
            <a:pPr marL="171450" indent="-171450"/>
            <a:r>
              <a:rPr lang="en-US" sz="900" b="1" dirty="0" smtClean="0">
                <a:solidFill>
                  <a:schemeClr val="tx1"/>
                </a:solidFill>
              </a:rPr>
              <a:t>Service personnel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900" dirty="0" smtClean="0">
                <a:ea typeface="Arial Hebrew Scholar" charset="-79"/>
                <a:cs typeface="Arial Hebrew Scholar" charset="-79"/>
              </a:rPr>
              <a:t>Identify pain points and potential areas for further development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900" dirty="0" smtClean="0">
                <a:ea typeface="Arial Hebrew Scholar" charset="-79"/>
                <a:cs typeface="Arial Hebrew Scholar" charset="-79"/>
              </a:rPr>
              <a:t>Communicate and share best practices with colleagues</a:t>
            </a:r>
            <a:r>
              <a:rPr lang="en-US" sz="900" dirty="0">
                <a:ea typeface="Arial Hebrew Scholar" charset="-79"/>
                <a:cs typeface="Arial Hebrew Scholar" charset="-79"/>
              </a:rPr>
              <a:t/>
            </a:r>
            <a:br>
              <a:rPr lang="en-US" sz="900" dirty="0">
                <a:ea typeface="Arial Hebrew Scholar" charset="-79"/>
                <a:cs typeface="Arial Hebrew Scholar" charset="-79"/>
              </a:rPr>
            </a:br>
            <a:endParaRPr lang="en-US" sz="900" dirty="0">
              <a:ea typeface="Arial Hebrew Scholar" charset="-79"/>
              <a:cs typeface="Arial Hebrew Scholar" charset="-79"/>
            </a:endParaRPr>
          </a:p>
          <a:p>
            <a:pPr marL="457200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en-US" sz="900" dirty="0">
              <a:ea typeface="Arial Hebrew Scholar" charset="-79"/>
              <a:cs typeface="Arial Hebrew Scholar" charset="-79"/>
            </a:endParaRPr>
          </a:p>
          <a:p>
            <a:pPr marL="171450" lvl="0" indent="-171450" fontAlgn="auto"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/>
            </a:pPr>
            <a:endParaRPr lang="en-US" sz="300" dirty="0">
              <a:ea typeface="Arial Hebrew Scholar" charset="-79"/>
              <a:cs typeface="Arial Hebrew Scholar" charset="-79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93033" y="3819066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848454" y="3819066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1199730" y="3819082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555151" y="3819082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882973" y="3819066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2238394" y="3819066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2589670" y="3819082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2945091" y="3819082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3303430" y="3819066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3654706" y="3819082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010127" y="3819082"/>
            <a:ext cx="288000" cy="327707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93033" y="4203181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848454" y="4203181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1199730" y="4203197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1555151" y="4203197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882973" y="4203181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2238394" y="4203181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2589670" y="4203197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2945091" y="4203197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3303430" y="4203181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3654706" y="4203197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4010127" y="4203197"/>
            <a:ext cx="288000" cy="17451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Ins="36000" rtlCol="0" anchor="t"/>
          <a:lstStyle/>
          <a:p>
            <a:endParaRPr lang="fi-FI" sz="12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58750" y="841276"/>
            <a:ext cx="257288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dirty="0" smtClean="0"/>
              <a:t>“House of Aalto services”</a:t>
            </a:r>
            <a:endParaRPr lang="fi-FI" sz="1400" dirty="0"/>
          </a:p>
        </p:txBody>
      </p:sp>
    </p:spTree>
    <p:extLst>
      <p:ext uri="{BB962C8B-B14F-4D97-AF65-F5344CB8AC3E}">
        <p14:creationId xmlns:p14="http://schemas.microsoft.com/office/powerpoint/2010/main" val="1301273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7079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How should our services look like in 2022?</a:t>
            </a:r>
            <a:br>
              <a:rPr lang="en-US" sz="3200" dirty="0"/>
            </a:br>
            <a:r>
              <a:rPr lang="en-US" sz="3200" b="0" dirty="0"/>
              <a:t>Vision v1.0</a:t>
            </a:r>
            <a:endParaRPr lang="fi-FI" sz="3200" dirty="0"/>
          </a:p>
        </p:txBody>
      </p:sp>
      <p:sp>
        <p:nvSpPr>
          <p:cNvPr id="18" name="TextBox 17"/>
          <p:cNvSpPr txBox="1"/>
          <p:nvPr/>
        </p:nvSpPr>
        <p:spPr>
          <a:xfrm>
            <a:off x="539552" y="1201316"/>
            <a:ext cx="2772000" cy="1661206"/>
          </a:xfrm>
          <a:prstGeom prst="rect">
            <a:avLst/>
          </a:prstGeom>
          <a:solidFill>
            <a:schemeClr val="bg1">
              <a:alpha val="53000"/>
            </a:schemeClr>
          </a:solidFill>
          <a:ln>
            <a:noFill/>
          </a:ln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>
              <a:defRPr sz="1200" b="1"/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User-centric design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ervices are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easy to approach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and service delivery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etup is not visible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for the users</a:t>
            </a: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Users/roles/functions are identified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and we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ensure high user satisfaction</a:t>
            </a: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ervices are optimized, lean and add value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to research/artistic activities, education and impact</a:t>
            </a: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User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atisfactio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,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KPI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and university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trategy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drive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further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optimization of services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1556605" y="3307029"/>
            <a:ext cx="4959611" cy="1422679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wrap="square" lIns="72000" tIns="72000" rIns="72000" bIns="72000" rtlCol="0">
            <a:spAutoFit/>
          </a:bodyPr>
          <a:lstStyle>
            <a:defPPr>
              <a:defRPr lang="en-US"/>
            </a:defPPr>
            <a:lvl1pPr>
              <a:defRPr sz="1200" b="1"/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One campus service delivery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eamless &amp; efficient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ervice delivery across service function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on one campus – services provided at the location of the user</a:t>
            </a: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ervice delivery is optimized and provided on different levels:</a:t>
            </a:r>
          </a:p>
          <a:p>
            <a:pPr marL="450850" marR="0" lvl="1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By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online service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offering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t>easy navigation for daily tasks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450850" marR="0" lvl="1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By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faculty/student partner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offering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on-site support</a:t>
            </a:r>
          </a:p>
          <a:p>
            <a:pPr marL="450850" marR="0" lvl="1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By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ervice specialist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offering in-depth support based on their area of expertise</a:t>
            </a:r>
          </a:p>
        </p:txBody>
      </p:sp>
      <p:cxnSp>
        <p:nvCxnSpPr>
          <p:cNvPr id="20" name="Straight Connector 19"/>
          <p:cNvCxnSpPr>
            <a:stCxn id="31" idx="4"/>
            <a:endCxn id="33" idx="0"/>
          </p:cNvCxnSpPr>
          <p:nvPr/>
        </p:nvCxnSpPr>
        <p:spPr>
          <a:xfrm>
            <a:off x="5436072" y="1633316"/>
            <a:ext cx="144064" cy="432096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stCxn id="29" idx="6"/>
            <a:endCxn id="39" idx="2"/>
          </p:cNvCxnSpPr>
          <p:nvPr/>
        </p:nvCxnSpPr>
        <p:spPr>
          <a:xfrm flipV="1">
            <a:off x="3995936" y="1867348"/>
            <a:ext cx="198065" cy="126032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>
            <a:stCxn id="39" idx="4"/>
            <a:endCxn id="24" idx="0"/>
          </p:cNvCxnSpPr>
          <p:nvPr/>
        </p:nvCxnSpPr>
        <p:spPr>
          <a:xfrm>
            <a:off x="4572001" y="2245348"/>
            <a:ext cx="71983" cy="252160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3059880" y="1273372"/>
            <a:ext cx="432000" cy="432000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4427984" y="2497508"/>
            <a:ext cx="432000" cy="432000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5" name="Straight Connector 24"/>
          <p:cNvCxnSpPr>
            <a:stCxn id="29" idx="1"/>
            <a:endCxn id="23" idx="5"/>
          </p:cNvCxnSpPr>
          <p:nvPr/>
        </p:nvCxnSpPr>
        <p:spPr>
          <a:xfrm flipH="1" flipV="1">
            <a:off x="3428615" y="1642107"/>
            <a:ext cx="198586" cy="198538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Oval 25"/>
          <p:cNvSpPr/>
          <p:nvPr/>
        </p:nvSpPr>
        <p:spPr>
          <a:xfrm>
            <a:off x="3707904" y="2785492"/>
            <a:ext cx="432000" cy="432000"/>
          </a:xfrm>
          <a:prstGeom prst="ellipse">
            <a:avLst/>
          </a:prstGeom>
          <a:solidFill>
            <a:schemeClr val="bg1">
              <a:alpha val="50000"/>
            </a:schemeClr>
          </a:solidFill>
          <a:ln w="12700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7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102" y="2588188"/>
            <a:ext cx="271764" cy="250640"/>
          </a:xfrm>
          <a:prstGeom prst="rect">
            <a:avLst/>
          </a:prstGeom>
          <a:ln>
            <a:noFill/>
          </a:ln>
        </p:spPr>
      </p:pic>
      <p:cxnSp>
        <p:nvCxnSpPr>
          <p:cNvPr id="28" name="Straight Connector 27"/>
          <p:cNvCxnSpPr>
            <a:stCxn id="26" idx="6"/>
            <a:endCxn id="24" idx="3"/>
          </p:cNvCxnSpPr>
          <p:nvPr/>
        </p:nvCxnSpPr>
        <p:spPr>
          <a:xfrm flipV="1">
            <a:off x="4139904" y="2866243"/>
            <a:ext cx="351345" cy="135249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Oval 28"/>
          <p:cNvSpPr/>
          <p:nvPr/>
        </p:nvSpPr>
        <p:spPr>
          <a:xfrm>
            <a:off x="3563936" y="1777380"/>
            <a:ext cx="432000" cy="432000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5832448" y="1201316"/>
            <a:ext cx="2772000" cy="1728000"/>
          </a:xfrm>
          <a:prstGeom prst="rect">
            <a:avLst/>
          </a:prstGeom>
          <a:solidFill>
            <a:schemeClr val="bg1">
              <a:alpha val="60000"/>
            </a:schemeClr>
          </a:solidFill>
          <a:ln>
            <a:noFill/>
          </a:ln>
        </p:spPr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Digitalization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Digitalization enables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imple and easy acces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to Aalto services </a:t>
            </a: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Personalized “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user dashboard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” (one stop shop for services)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based on varying roles</a:t>
            </a: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Bot &amp; Chat functions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provide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quick resolution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to frequently asked questions/topics</a:t>
            </a: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Analytics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and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open data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are utilized to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create transparency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 and 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charset="0"/>
                <a:cs typeface="Arial" panose="020B0604020202020204" pitchFamily="34" charset="0"/>
              </a:rPr>
              <a:t>support decision-making</a:t>
            </a: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  <a:p>
            <a:pPr marL="171450" marR="0" lvl="0" indent="-17145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i-FI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5220072" y="1201316"/>
            <a:ext cx="432000" cy="432000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2" name="Straight Connector 31"/>
          <p:cNvCxnSpPr>
            <a:stCxn id="39" idx="6"/>
            <a:endCxn id="31" idx="3"/>
          </p:cNvCxnSpPr>
          <p:nvPr/>
        </p:nvCxnSpPr>
        <p:spPr>
          <a:xfrm flipV="1">
            <a:off x="4950001" y="1570051"/>
            <a:ext cx="333336" cy="297297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Oval 32"/>
          <p:cNvSpPr/>
          <p:nvPr/>
        </p:nvSpPr>
        <p:spPr>
          <a:xfrm>
            <a:off x="5364136" y="2065412"/>
            <a:ext cx="432000" cy="432000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3061" y="2182301"/>
            <a:ext cx="235100" cy="235100"/>
          </a:xfrm>
          <a:prstGeom prst="rect">
            <a:avLst/>
          </a:prstGeom>
          <a:ln>
            <a:noFill/>
          </a:ln>
        </p:spPr>
      </p:pic>
      <p:cxnSp>
        <p:nvCxnSpPr>
          <p:cNvPr id="35" name="Straight Connector 34"/>
          <p:cNvCxnSpPr>
            <a:stCxn id="31" idx="6"/>
          </p:cNvCxnSpPr>
          <p:nvPr/>
        </p:nvCxnSpPr>
        <p:spPr>
          <a:xfrm flipV="1">
            <a:off x="5652072" y="1362758"/>
            <a:ext cx="180376" cy="54558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endCxn id="26" idx="3"/>
          </p:cNvCxnSpPr>
          <p:nvPr/>
        </p:nvCxnSpPr>
        <p:spPr>
          <a:xfrm flipV="1">
            <a:off x="3491880" y="3154227"/>
            <a:ext cx="279289" cy="288075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  <a:headEnd type="oval" w="sm" len="sm"/>
            <a:tailEnd type="none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>
            <a:stCxn id="23" idx="2"/>
          </p:cNvCxnSpPr>
          <p:nvPr/>
        </p:nvCxnSpPr>
        <p:spPr>
          <a:xfrm flipH="1" flipV="1">
            <a:off x="2051720" y="1364166"/>
            <a:ext cx="1008160" cy="125206"/>
          </a:xfrm>
          <a:prstGeom prst="line">
            <a:avLst/>
          </a:prstGeom>
          <a:ln w="6350">
            <a:solidFill>
              <a:schemeClr val="bg2">
                <a:lumMod val="40000"/>
                <a:lumOff val="60000"/>
              </a:schemeClr>
            </a:solidFill>
            <a:tailEnd type="oval" w="sm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8" name="Picture 37"/>
          <p:cNvPicPr>
            <a:picLocks noChangeAspect="1"/>
          </p:cNvPicPr>
          <p:nvPr/>
        </p:nvPicPr>
        <p:blipFill>
          <a:blip r:embed="rId9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8981" y="2896461"/>
            <a:ext cx="244330" cy="233039"/>
          </a:xfrm>
          <a:prstGeom prst="rect">
            <a:avLst/>
          </a:prstGeom>
          <a:ln>
            <a:noFill/>
          </a:ln>
        </p:spPr>
      </p:pic>
      <p:sp>
        <p:nvSpPr>
          <p:cNvPr id="39" name="Oval 38"/>
          <p:cNvSpPr/>
          <p:nvPr/>
        </p:nvSpPr>
        <p:spPr>
          <a:xfrm>
            <a:off x="4194001" y="1489348"/>
            <a:ext cx="756000" cy="756000"/>
          </a:xfrm>
          <a:prstGeom prst="ellipse">
            <a:avLst/>
          </a:prstGeom>
          <a:noFill/>
          <a:ln w="6350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4230001" y="1525348"/>
            <a:ext cx="684000" cy="684000"/>
          </a:xfrm>
          <a:prstGeom prst="ellipse">
            <a:avLst/>
          </a:prstGeom>
          <a:noFill/>
          <a:ln w="6350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4266001" y="1561348"/>
            <a:ext cx="612000" cy="612000"/>
          </a:xfrm>
          <a:prstGeom prst="ellipse">
            <a:avLst/>
          </a:prstGeom>
          <a:solidFill>
            <a:schemeClr val="bg1">
              <a:alpha val="49000"/>
            </a:schemeClr>
          </a:solidFill>
          <a:ln w="6350">
            <a:solidFill>
              <a:schemeClr val="bg2">
                <a:lumMod val="40000"/>
                <a:lumOff val="60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2" name="Picture 41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02001" y="1597348"/>
            <a:ext cx="540000" cy="540000"/>
          </a:xfrm>
          <a:prstGeom prst="rect">
            <a:avLst/>
          </a:prstGeom>
          <a:ln>
            <a:noFill/>
          </a:ln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2368" y="1290750"/>
            <a:ext cx="269843" cy="265490"/>
          </a:xfrm>
          <a:prstGeom prst="rect">
            <a:avLst/>
          </a:prstGeom>
          <a:ln>
            <a:noFill/>
          </a:ln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13">
            <a:duotone>
              <a:prstClr val="black"/>
              <a:srgbClr val="D9C3A5">
                <a:tint val="50000"/>
                <a:satMod val="18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4"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3998" y="1890577"/>
            <a:ext cx="311875" cy="205607"/>
          </a:xfrm>
          <a:prstGeom prst="rect">
            <a:avLst/>
          </a:prstGeom>
          <a:ln>
            <a:noFill/>
          </a:ln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8256" y="1364166"/>
            <a:ext cx="262830" cy="262830"/>
          </a:xfrm>
          <a:prstGeom prst="rect">
            <a:avLst/>
          </a:prstGeom>
          <a:ln>
            <a:noFill/>
          </a:ln>
        </p:spPr>
      </p:pic>
      <p:grpSp>
        <p:nvGrpSpPr>
          <p:cNvPr id="46" name="Group 45"/>
          <p:cNvGrpSpPr/>
          <p:nvPr/>
        </p:nvGrpSpPr>
        <p:grpSpPr>
          <a:xfrm>
            <a:off x="4109017" y="685641"/>
            <a:ext cx="925967" cy="947724"/>
            <a:chOff x="4109017" y="685641"/>
            <a:chExt cx="925967" cy="947724"/>
          </a:xfrm>
        </p:grpSpPr>
        <p:grpSp>
          <p:nvGrpSpPr>
            <p:cNvPr id="47" name="Group 46"/>
            <p:cNvGrpSpPr/>
            <p:nvPr/>
          </p:nvGrpSpPr>
          <p:grpSpPr>
            <a:xfrm>
              <a:off x="4109017" y="841276"/>
              <a:ext cx="925967" cy="792089"/>
              <a:chOff x="3934065" y="1261613"/>
              <a:chExt cx="925967" cy="566462"/>
            </a:xfrm>
          </p:grpSpPr>
          <p:sp>
            <p:nvSpPr>
              <p:cNvPr id="50" name="Pentagon 49"/>
              <p:cNvSpPr/>
              <p:nvPr/>
            </p:nvSpPr>
            <p:spPr>
              <a:xfrm rot="5400000">
                <a:off x="4117509" y="1084543"/>
                <a:ext cx="565453" cy="919593"/>
              </a:xfrm>
              <a:prstGeom prst="homePlate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i-FI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1" name="TextBox 50"/>
              <p:cNvSpPr txBox="1"/>
              <p:nvPr/>
            </p:nvSpPr>
            <p:spPr>
              <a:xfrm>
                <a:off x="3934065" y="1458743"/>
                <a:ext cx="925967" cy="36933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" charset="0"/>
                    <a:ea typeface="ＭＳ Ｐゴシック" charset="0"/>
                  </a:rPr>
                  <a:t>Vision</a:t>
                </a:r>
              </a:p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>
                      <a:outerShdw blurRad="50800" dist="38100" dir="5400000" algn="t" rotWithShape="0">
                        <a:prstClr val="black">
                          <a:alpha val="40000"/>
                        </a:prstClr>
                      </a:outerShdw>
                    </a:effectLst>
                    <a:uLnTx/>
                    <a:uFillTx/>
                    <a:latin typeface="Arial" charset="0"/>
                    <a:ea typeface="ＭＳ Ｐゴシック" charset="0"/>
                  </a:rPr>
                  <a:t>2022</a:t>
                </a:r>
                <a:endParaRPr kumimoji="0" lang="fi-FI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>
                    <a:outerShdw blurRad="50800" dist="38100" dir="5400000" algn="t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Arial" charset="0"/>
                  <a:ea typeface="ＭＳ Ｐゴシック" charset="0"/>
                </a:endParaRPr>
              </a:p>
            </p:txBody>
          </p:sp>
        </p:grpSp>
        <p:sp>
          <p:nvSpPr>
            <p:cNvPr id="48" name="Oval 47"/>
            <p:cNvSpPr/>
            <p:nvPr/>
          </p:nvSpPr>
          <p:spPr>
            <a:xfrm>
              <a:off x="4356012" y="685641"/>
              <a:ext cx="432000" cy="432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i-FI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49" name="Picture 48"/>
            <p:cNvPicPr>
              <a:picLocks noChangeAspect="1"/>
            </p:cNvPicPr>
            <p:nvPr/>
          </p:nvPicPr>
          <p:blipFill>
            <a:blip r:embed="rId16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V="1">
              <a:off x="4383021" y="712650"/>
              <a:ext cx="377983" cy="3779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29360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6727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2" name="think-cell Slide" r:id="rId6" imgW="530" imgH="531" progId="TCLayout.ActiveDocument.1">
                  <p:embed/>
                </p:oleObj>
              </mc:Choice>
              <mc:Fallback>
                <p:oleObj name="think-cell Slide" r:id="rId6" imgW="530" imgH="53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3" name="Rectangle 6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457200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3200" dirty="0"/>
              <a:t>Service development roadmap 2018-2022</a:t>
            </a:r>
            <a:endParaRPr lang="fi-FI" sz="3200" dirty="0"/>
          </a:p>
        </p:txBody>
      </p:sp>
      <p:sp>
        <p:nvSpPr>
          <p:cNvPr id="53" name="AutoShape 7"/>
          <p:cNvSpPr>
            <a:spLocks noChangeArrowheads="1"/>
          </p:cNvSpPr>
          <p:nvPr/>
        </p:nvSpPr>
        <p:spPr bwMode="auto">
          <a:xfrm>
            <a:off x="3448219" y="3217540"/>
            <a:ext cx="2340000" cy="288000"/>
          </a:xfrm>
          <a:prstGeom prst="rect">
            <a:avLst/>
          </a:prstGeom>
          <a:solidFill>
            <a:schemeClr val="tx2">
              <a:lumMod val="20000"/>
              <a:lumOff val="80000"/>
              <a:alpha val="85000"/>
            </a:schemeClr>
          </a:solidFill>
          <a:ln>
            <a:solidFill>
              <a:schemeClr val="bg1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5996" rIns="108000" bIns="35996" anchor="ctr"/>
          <a:lstStyle/>
          <a:p>
            <a:pPr marL="8890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cus on strategic priorities</a:t>
            </a:r>
          </a:p>
        </p:txBody>
      </p:sp>
      <p:sp>
        <p:nvSpPr>
          <p:cNvPr id="47" name="AutoShape 7"/>
          <p:cNvSpPr>
            <a:spLocks noChangeArrowheads="1"/>
          </p:cNvSpPr>
          <p:nvPr/>
        </p:nvSpPr>
        <p:spPr bwMode="auto">
          <a:xfrm>
            <a:off x="3448219" y="3649620"/>
            <a:ext cx="2340000" cy="288000"/>
          </a:xfrm>
          <a:prstGeom prst="rect">
            <a:avLst/>
          </a:prstGeom>
          <a:solidFill>
            <a:schemeClr val="tx2">
              <a:lumMod val="20000"/>
              <a:lumOff val="80000"/>
              <a:alpha val="85000"/>
            </a:schemeClr>
          </a:solidFill>
          <a:ln>
            <a:solidFill>
              <a:schemeClr val="bg1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5996" rIns="108000" bIns="35996" anchor="ctr"/>
          <a:lstStyle/>
          <a:p>
            <a:pPr marL="8890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mote services digital way of working</a:t>
            </a:r>
          </a:p>
        </p:txBody>
      </p:sp>
      <p:sp>
        <p:nvSpPr>
          <p:cNvPr id="12" name="AutoShape 7"/>
          <p:cNvSpPr>
            <a:spLocks noChangeArrowheads="1"/>
          </p:cNvSpPr>
          <p:nvPr/>
        </p:nvSpPr>
        <p:spPr bwMode="auto">
          <a:xfrm>
            <a:off x="683568" y="3649620"/>
            <a:ext cx="2340000" cy="288000"/>
          </a:xfrm>
          <a:prstGeom prst="rect">
            <a:avLst/>
          </a:prstGeom>
          <a:solidFill>
            <a:schemeClr val="tx2">
              <a:lumMod val="20000"/>
              <a:lumOff val="80000"/>
              <a:alpha val="85000"/>
            </a:schemeClr>
          </a:solidFill>
          <a:ln>
            <a:solidFill>
              <a:schemeClr val="bg1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5996" rIns="108000" bIns="35996" anchor="ctr"/>
          <a:lstStyle/>
          <a:p>
            <a:pPr marL="8890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cross-functional portfolio overview</a:t>
            </a: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auto">
          <a:xfrm>
            <a:off x="683568" y="3217540"/>
            <a:ext cx="2340000" cy="288000"/>
          </a:xfrm>
          <a:prstGeom prst="rect">
            <a:avLst/>
          </a:prstGeom>
          <a:solidFill>
            <a:schemeClr val="tx2">
              <a:lumMod val="20000"/>
              <a:lumOff val="80000"/>
              <a:alpha val="85000"/>
            </a:schemeClr>
          </a:solidFill>
          <a:ln>
            <a:solidFill>
              <a:schemeClr val="bg1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5996" rIns="108000" bIns="35996" anchor="ctr"/>
          <a:lstStyle/>
          <a:p>
            <a:pPr marL="8890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eate functional portfolio transparency</a:t>
            </a:r>
          </a:p>
        </p:txBody>
      </p:sp>
      <p:sp>
        <p:nvSpPr>
          <p:cNvPr id="46" name="AutoShape 7"/>
          <p:cNvSpPr>
            <a:spLocks noChangeArrowheads="1"/>
          </p:cNvSpPr>
          <p:nvPr/>
        </p:nvSpPr>
        <p:spPr bwMode="auto">
          <a:xfrm>
            <a:off x="683568" y="4081668"/>
            <a:ext cx="2340000" cy="288000"/>
          </a:xfrm>
          <a:prstGeom prst="rect">
            <a:avLst/>
          </a:prstGeom>
          <a:solidFill>
            <a:schemeClr val="tx2">
              <a:lumMod val="20000"/>
              <a:lumOff val="80000"/>
              <a:alpha val="85000"/>
            </a:schemeClr>
          </a:solidFill>
          <a:ln>
            <a:solidFill>
              <a:schemeClr val="bg1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5996" rIns="108000" bIns="35996" anchor="ctr"/>
          <a:lstStyle/>
          <a:p>
            <a:pPr marL="8890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stablish service development network</a:t>
            </a:r>
          </a:p>
        </p:txBody>
      </p:sp>
      <p:sp>
        <p:nvSpPr>
          <p:cNvPr id="54" name="AutoShape 7"/>
          <p:cNvSpPr>
            <a:spLocks noChangeArrowheads="1"/>
          </p:cNvSpPr>
          <p:nvPr/>
        </p:nvSpPr>
        <p:spPr bwMode="auto">
          <a:xfrm>
            <a:off x="6156176" y="3217540"/>
            <a:ext cx="2340000" cy="288000"/>
          </a:xfrm>
          <a:prstGeom prst="rect">
            <a:avLst/>
          </a:prstGeom>
          <a:solidFill>
            <a:schemeClr val="tx2">
              <a:lumMod val="20000"/>
              <a:lumOff val="80000"/>
              <a:alpha val="85000"/>
            </a:schemeClr>
          </a:solidFill>
          <a:ln>
            <a:solidFill>
              <a:schemeClr val="bg1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5996" rIns="108000" bIns="35996" anchor="ctr"/>
          <a:lstStyle/>
          <a:p>
            <a:pPr marL="8890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ntinue strategy development towards Vision 2022</a:t>
            </a: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52260" y="975512"/>
            <a:ext cx="1547209" cy="967006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AutoShape 7"/>
          <p:cNvSpPr>
            <a:spLocks noChangeArrowheads="1"/>
          </p:cNvSpPr>
          <p:nvPr/>
        </p:nvSpPr>
        <p:spPr bwMode="auto">
          <a:xfrm>
            <a:off x="611560" y="2641499"/>
            <a:ext cx="2556000" cy="396000"/>
          </a:xfrm>
          <a:prstGeom prst="homePlate">
            <a:avLst>
              <a:gd name="adj" fmla="val 12890"/>
            </a:avLst>
          </a:prstGeom>
          <a:solidFill>
            <a:schemeClr val="tx2">
              <a:alpha val="70000"/>
            </a:schemeClr>
          </a:solidFill>
          <a:ln>
            <a:solidFill>
              <a:schemeClr val="bg1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6000" rIns="108000" bIns="35996" anchor="ctr"/>
          <a:lstStyle/>
          <a:p>
            <a:pPr marL="8890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uild a solid foundation</a:t>
            </a:r>
          </a:p>
        </p:txBody>
      </p:sp>
      <p:sp>
        <p:nvSpPr>
          <p:cNvPr id="19" name="AutoShape 7"/>
          <p:cNvSpPr>
            <a:spLocks noChangeArrowheads="1"/>
          </p:cNvSpPr>
          <p:nvPr/>
        </p:nvSpPr>
        <p:spPr bwMode="auto">
          <a:xfrm>
            <a:off x="6084168" y="2641499"/>
            <a:ext cx="2556000" cy="396000"/>
          </a:xfrm>
          <a:prstGeom prst="chevron">
            <a:avLst>
              <a:gd name="adj" fmla="val 9685"/>
            </a:avLst>
          </a:prstGeom>
          <a:solidFill>
            <a:schemeClr val="tx2">
              <a:alpha val="70000"/>
            </a:schemeClr>
          </a:solidFill>
          <a:ln>
            <a:solidFill>
              <a:schemeClr val="bg1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6000" rIns="108000" bIns="35996" anchor="ctr"/>
          <a:lstStyle/>
          <a:p>
            <a:pPr marL="8890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sure seamless service delivery &amp; </a:t>
            </a:r>
          </a:p>
          <a:p>
            <a:pPr marL="8890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ster continuous improvement</a:t>
            </a:r>
          </a:p>
        </p:txBody>
      </p:sp>
      <p:sp>
        <p:nvSpPr>
          <p:cNvPr id="41" name="AutoShape 7"/>
          <p:cNvSpPr>
            <a:spLocks noChangeArrowheads="1"/>
          </p:cNvSpPr>
          <p:nvPr/>
        </p:nvSpPr>
        <p:spPr bwMode="auto">
          <a:xfrm>
            <a:off x="3347864" y="2641499"/>
            <a:ext cx="2556000" cy="396000"/>
          </a:xfrm>
          <a:prstGeom prst="chevron">
            <a:avLst>
              <a:gd name="adj" fmla="val 9685"/>
            </a:avLst>
          </a:prstGeom>
          <a:solidFill>
            <a:schemeClr val="tx2">
              <a:alpha val="70000"/>
            </a:schemeClr>
          </a:solidFill>
          <a:ln>
            <a:solidFill>
              <a:schemeClr val="bg1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6000" rIns="36000" bIns="35996" anchor="ctr"/>
          <a:lstStyle/>
          <a:p>
            <a:pPr marL="8890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ze services &amp; utilize synergies</a:t>
            </a:r>
          </a:p>
        </p:txBody>
      </p:sp>
      <p:sp>
        <p:nvSpPr>
          <p:cNvPr id="75" name="Right Triangle 74"/>
          <p:cNvSpPr/>
          <p:nvPr/>
        </p:nvSpPr>
        <p:spPr>
          <a:xfrm>
            <a:off x="628824" y="2319536"/>
            <a:ext cx="3243436" cy="330200"/>
          </a:xfrm>
          <a:custGeom>
            <a:avLst/>
            <a:gdLst>
              <a:gd name="connsiteX0" fmla="*/ 0 w 1224136"/>
              <a:gd name="connsiteY0" fmla="*/ 432048 h 432048"/>
              <a:gd name="connsiteX1" fmla="*/ 0 w 1224136"/>
              <a:gd name="connsiteY1" fmla="*/ 0 h 432048"/>
              <a:gd name="connsiteX2" fmla="*/ 1224136 w 1224136"/>
              <a:gd name="connsiteY2" fmla="*/ 432048 h 432048"/>
              <a:gd name="connsiteX3" fmla="*/ 0 w 1224136"/>
              <a:gd name="connsiteY3" fmla="*/ 432048 h 432048"/>
              <a:gd name="connsiteX0" fmla="*/ 558800 w 1782936"/>
              <a:gd name="connsiteY0" fmla="*/ 0 h 361702"/>
              <a:gd name="connsiteX1" fmla="*/ 0 w 1782936"/>
              <a:gd name="connsiteY1" fmla="*/ 361702 h 361702"/>
              <a:gd name="connsiteX2" fmla="*/ 1782936 w 1782936"/>
              <a:gd name="connsiteY2" fmla="*/ 0 h 361702"/>
              <a:gd name="connsiteX3" fmla="*/ 558800 w 1782936"/>
              <a:gd name="connsiteY3" fmla="*/ 0 h 361702"/>
              <a:gd name="connsiteX0" fmla="*/ 2438400 w 2438400"/>
              <a:gd name="connsiteY0" fmla="*/ 368300 h 368300"/>
              <a:gd name="connsiteX1" fmla="*/ 0 w 2438400"/>
              <a:gd name="connsiteY1" fmla="*/ 361702 h 368300"/>
              <a:gd name="connsiteX2" fmla="*/ 1782936 w 2438400"/>
              <a:gd name="connsiteY2" fmla="*/ 0 h 368300"/>
              <a:gd name="connsiteX3" fmla="*/ 2438400 w 2438400"/>
              <a:gd name="connsiteY3" fmla="*/ 368300 h 368300"/>
              <a:gd name="connsiteX0" fmla="*/ 2438400 w 3243436"/>
              <a:gd name="connsiteY0" fmla="*/ 330200 h 330200"/>
              <a:gd name="connsiteX1" fmla="*/ 0 w 3243436"/>
              <a:gd name="connsiteY1" fmla="*/ 323602 h 330200"/>
              <a:gd name="connsiteX2" fmla="*/ 3243436 w 3243436"/>
              <a:gd name="connsiteY2" fmla="*/ 0 h 330200"/>
              <a:gd name="connsiteX3" fmla="*/ 2438400 w 3243436"/>
              <a:gd name="connsiteY3" fmla="*/ 330200 h 33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3436" h="330200">
                <a:moveTo>
                  <a:pt x="2438400" y="330200"/>
                </a:moveTo>
                <a:lnTo>
                  <a:pt x="0" y="323602"/>
                </a:lnTo>
                <a:lnTo>
                  <a:pt x="3243436" y="0"/>
                </a:lnTo>
                <a:lnTo>
                  <a:pt x="2438400" y="33020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6" name="Right Triangle 74"/>
          <p:cNvSpPr/>
          <p:nvPr/>
        </p:nvSpPr>
        <p:spPr>
          <a:xfrm>
            <a:off x="5329431" y="2287786"/>
            <a:ext cx="3233564" cy="361950"/>
          </a:xfrm>
          <a:custGeom>
            <a:avLst/>
            <a:gdLst>
              <a:gd name="connsiteX0" fmla="*/ 0 w 1224136"/>
              <a:gd name="connsiteY0" fmla="*/ 432048 h 432048"/>
              <a:gd name="connsiteX1" fmla="*/ 0 w 1224136"/>
              <a:gd name="connsiteY1" fmla="*/ 0 h 432048"/>
              <a:gd name="connsiteX2" fmla="*/ 1224136 w 1224136"/>
              <a:gd name="connsiteY2" fmla="*/ 432048 h 432048"/>
              <a:gd name="connsiteX3" fmla="*/ 0 w 1224136"/>
              <a:gd name="connsiteY3" fmla="*/ 432048 h 432048"/>
              <a:gd name="connsiteX0" fmla="*/ 558800 w 1782936"/>
              <a:gd name="connsiteY0" fmla="*/ 0 h 361702"/>
              <a:gd name="connsiteX1" fmla="*/ 0 w 1782936"/>
              <a:gd name="connsiteY1" fmla="*/ 361702 h 361702"/>
              <a:gd name="connsiteX2" fmla="*/ 1782936 w 1782936"/>
              <a:gd name="connsiteY2" fmla="*/ 0 h 361702"/>
              <a:gd name="connsiteX3" fmla="*/ 558800 w 1782936"/>
              <a:gd name="connsiteY3" fmla="*/ 0 h 361702"/>
              <a:gd name="connsiteX0" fmla="*/ 2438400 w 2438400"/>
              <a:gd name="connsiteY0" fmla="*/ 368300 h 368300"/>
              <a:gd name="connsiteX1" fmla="*/ 0 w 2438400"/>
              <a:gd name="connsiteY1" fmla="*/ 361702 h 368300"/>
              <a:gd name="connsiteX2" fmla="*/ 1782936 w 2438400"/>
              <a:gd name="connsiteY2" fmla="*/ 0 h 368300"/>
              <a:gd name="connsiteX3" fmla="*/ 2438400 w 2438400"/>
              <a:gd name="connsiteY3" fmla="*/ 368300 h 368300"/>
              <a:gd name="connsiteX0" fmla="*/ 2438400 w 3243436"/>
              <a:gd name="connsiteY0" fmla="*/ 330200 h 330200"/>
              <a:gd name="connsiteX1" fmla="*/ 0 w 3243436"/>
              <a:gd name="connsiteY1" fmla="*/ 323602 h 330200"/>
              <a:gd name="connsiteX2" fmla="*/ 3243436 w 3243436"/>
              <a:gd name="connsiteY2" fmla="*/ 0 h 330200"/>
              <a:gd name="connsiteX3" fmla="*/ 2438400 w 3243436"/>
              <a:gd name="connsiteY3" fmla="*/ 330200 h 330200"/>
              <a:gd name="connsiteX0" fmla="*/ 3233564 w 3233564"/>
              <a:gd name="connsiteY0" fmla="*/ 361950 h 361950"/>
              <a:gd name="connsiteX1" fmla="*/ 795164 w 3233564"/>
              <a:gd name="connsiteY1" fmla="*/ 355352 h 361950"/>
              <a:gd name="connsiteX2" fmla="*/ 0 w 3233564"/>
              <a:gd name="connsiteY2" fmla="*/ 0 h 361950"/>
              <a:gd name="connsiteX3" fmla="*/ 3233564 w 3233564"/>
              <a:gd name="connsiteY3" fmla="*/ 361950 h 361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33564" h="361950">
                <a:moveTo>
                  <a:pt x="3233564" y="361950"/>
                </a:moveTo>
                <a:lnTo>
                  <a:pt x="795164" y="355352"/>
                </a:lnTo>
                <a:lnTo>
                  <a:pt x="0" y="0"/>
                </a:lnTo>
                <a:lnTo>
                  <a:pt x="3233564" y="361950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7" name="Isosceles Triangle 76"/>
          <p:cNvSpPr/>
          <p:nvPr/>
        </p:nvSpPr>
        <p:spPr>
          <a:xfrm>
            <a:off x="3349030" y="2086558"/>
            <a:ext cx="2529644" cy="554886"/>
          </a:xfrm>
          <a:prstGeom prst="triangle">
            <a:avLst>
              <a:gd name="adj" fmla="val 48745"/>
            </a:avLst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fi-FI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347864" y="2052092"/>
            <a:ext cx="2556000" cy="301352"/>
          </a:xfrm>
          <a:prstGeom prst="rect">
            <a:avLst/>
          </a:prstGeom>
          <a:solidFill>
            <a:schemeClr val="tx2">
              <a:lumMod val="75000"/>
              <a:alpha val="70000"/>
            </a:schemeClr>
          </a:solidFill>
          <a:ln>
            <a:solidFill>
              <a:schemeClr val="bg1"/>
            </a:solidFill>
            <a:headEnd type="none" w="sm" len="sm"/>
            <a:tailEnd type="none" w="sm" len="sm"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36000" tIns="36000" rIns="108000" bIns="35996" anchor="ctr"/>
          <a:lstStyle/>
          <a:p>
            <a:pPr marL="8890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alto Services “Vision 2022”</a:t>
            </a:r>
            <a:endParaRPr kumimoji="0" lang="fi-FI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Left Bracket 20"/>
          <p:cNvSpPr/>
          <p:nvPr/>
        </p:nvSpPr>
        <p:spPr>
          <a:xfrm rot="16200000">
            <a:off x="1704975" y="3419929"/>
            <a:ext cx="81140" cy="2412666"/>
          </a:xfrm>
          <a:prstGeom prst="leftBracke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2" name="TextBox 21"/>
          <p:cNvSpPr txBox="1"/>
          <p:nvPr/>
        </p:nvSpPr>
        <p:spPr>
          <a:xfrm>
            <a:off x="1438841" y="4728450"/>
            <a:ext cx="57721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/>
              <a:t>Phase 1</a:t>
            </a:r>
            <a:endParaRPr lang="fi-FI" sz="800" b="1" dirty="0"/>
          </a:p>
        </p:txBody>
      </p:sp>
      <p:sp>
        <p:nvSpPr>
          <p:cNvPr id="23" name="Left Bracket 22"/>
          <p:cNvSpPr/>
          <p:nvPr/>
        </p:nvSpPr>
        <p:spPr>
          <a:xfrm rot="16200000">
            <a:off x="4441619" y="3415319"/>
            <a:ext cx="81140" cy="2412666"/>
          </a:xfrm>
          <a:prstGeom prst="leftBracke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4" name="TextBox 23"/>
          <p:cNvSpPr txBox="1"/>
          <p:nvPr/>
        </p:nvSpPr>
        <p:spPr>
          <a:xfrm>
            <a:off x="4175485" y="4723840"/>
            <a:ext cx="57721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/>
              <a:t>Phase 2</a:t>
            </a:r>
            <a:endParaRPr lang="fi-FI" sz="800" b="1" dirty="0"/>
          </a:p>
        </p:txBody>
      </p:sp>
      <p:sp>
        <p:nvSpPr>
          <p:cNvPr id="25" name="Left Bracket 24"/>
          <p:cNvSpPr/>
          <p:nvPr/>
        </p:nvSpPr>
        <p:spPr>
          <a:xfrm rot="16200000">
            <a:off x="7150177" y="3421331"/>
            <a:ext cx="81140" cy="2412666"/>
          </a:xfrm>
          <a:prstGeom prst="leftBracket">
            <a:avLst/>
          </a:prstGeom>
          <a:ln w="63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26" name="TextBox 25"/>
          <p:cNvSpPr txBox="1"/>
          <p:nvPr/>
        </p:nvSpPr>
        <p:spPr>
          <a:xfrm>
            <a:off x="6884043" y="4729852"/>
            <a:ext cx="57721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800" b="1" dirty="0"/>
              <a:t>Phase 3</a:t>
            </a:r>
            <a:endParaRPr lang="fi-FI" sz="800" b="1" dirty="0"/>
          </a:p>
        </p:txBody>
      </p:sp>
    </p:spTree>
    <p:extLst>
      <p:ext uri="{BB962C8B-B14F-4D97-AF65-F5344CB8AC3E}">
        <p14:creationId xmlns:p14="http://schemas.microsoft.com/office/powerpoint/2010/main" val="2737531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3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5.29488741599666656867E+00&quot;&gt;&lt;m_msothmcolidx val=&quot;0&quot;/&gt;&lt;m_rgb r=&quot;B8&quot; g=&quot;D4&quot; b=&quot;EF&quot;/&gt;&lt;m_nBrightness tagver0=&quot;26206&quot; tagname0=&quot;m_nBrightnessUNRECOGNIZED&quot; val=&quot;0&quot;/&gt;&lt;/elem&gt;&lt;elem m_fUsage=&quot;3.20416623103334385902E+00&quot;&gt;&lt;m_msothmcolidx val=&quot;0&quot;/&gt;&lt;m_rgb r=&quot;30&quot; g=&quot;72&quot; b=&quot;B0&quot;/&gt;&lt;m_nBrightness tagver0=&quot;26206&quot; tagname0=&quot;m_nBrightnessUNRECOGNIZED&quot; val=&quot;0&quot;/&gt;&lt;/elem&gt;&lt;elem m_fUsage=&quot;1.50094635296999207030E-01&quot;&gt;&lt;m_msothmcolidx val=&quot;0&quot;/&gt;&lt;m_rgb r=&quot;E6&quot; g=&quot;E6&quot; b=&quot;E6&quot;/&gt;&lt;m_nBrightness tagver0=&quot;26206&quot; tagname0=&quot;m_nBrightnessUNRECOGNIZED&quot;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MRYtIJTGOmeGgTGxnG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QqSbYCTOGt_6ljKWxdW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XSC_wf3SmCJWqvMdIGh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gDQGmPR4SAwlLVpiq1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tKQSxSSYCkg.6n8qjv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jHrM6uSIiQRK7k1aQm4w"/>
</p:tagLst>
</file>

<file path=ppt/theme/theme1.xml><?xml version="1.0" encoding="utf-8"?>
<a:theme xmlns:a="http://schemas.openxmlformats.org/drawingml/2006/main" name="Aalto University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2.xml><?xml version="1.0" encoding="utf-8"?>
<a:theme xmlns:a="http://schemas.openxmlformats.org/drawingml/2006/main" name="AALTO_FI">
  <a:themeElements>
    <a:clrScheme name="Aalto Yliopisto">
      <a:dk1>
        <a:sysClr val="windowText" lastClr="000000"/>
      </a:dk1>
      <a:lt1>
        <a:sysClr val="window" lastClr="FFFFFF"/>
      </a:lt1>
      <a:dk2>
        <a:srgbClr val="1F497D"/>
      </a:dk2>
      <a:lt2>
        <a:srgbClr val="928B81"/>
      </a:lt2>
      <a:accent1>
        <a:srgbClr val="FFCD00"/>
      </a:accent1>
      <a:accent2>
        <a:srgbClr val="009B3A"/>
      </a:accent2>
      <a:accent3>
        <a:srgbClr val="005EB8"/>
      </a:accent3>
      <a:accent4>
        <a:srgbClr val="6639B7"/>
      </a:accent4>
      <a:accent5>
        <a:srgbClr val="EF3340"/>
      </a:accent5>
      <a:accent6>
        <a:srgbClr val="FF7900"/>
      </a:accent6>
      <a:hlink>
        <a:srgbClr val="000000"/>
      </a:hlink>
      <a:folHlink>
        <a:srgbClr val="928B8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</a:theme>
</file>

<file path=ppt/theme/theme3.xml><?xml version="1.0" encoding="utf-8"?>
<a:theme xmlns:a="http://schemas.openxmlformats.org/drawingml/2006/main" name="1_Aalto University">
  <a:themeElements>
    <a:clrScheme name="Aalto-yliopisto">
      <a:dk1>
        <a:sysClr val="windowText" lastClr="000000"/>
      </a:dk1>
      <a:lt1>
        <a:sysClr val="window" lastClr="FFFFFF"/>
      </a:lt1>
      <a:dk2>
        <a:srgbClr val="005EB8"/>
      </a:dk2>
      <a:lt2>
        <a:srgbClr val="8C857B"/>
      </a:lt2>
      <a:accent1>
        <a:srgbClr val="FFCD00"/>
      </a:accent1>
      <a:accent2>
        <a:srgbClr val="EF3340"/>
      </a:accent2>
      <a:accent3>
        <a:srgbClr val="005EB8"/>
      </a:accent3>
      <a:accent4>
        <a:srgbClr val="8C857B"/>
      </a:accent4>
      <a:accent5>
        <a:srgbClr val="7D55C7"/>
      </a:accent5>
      <a:accent6>
        <a:srgbClr val="00965E"/>
      </a:accent6>
      <a:hlink>
        <a:srgbClr val="000000"/>
      </a:hlink>
      <a:folHlink>
        <a:srgbClr val="928B81"/>
      </a:folHlink>
    </a:clrScheme>
    <a:fontScheme name="Aalto-yliopist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b="1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5DFF5384-7925-49C9-826D-99D946B8D539}" vid="{3183760B-E33B-4B04-9A52-658182C5CADE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ALTO_EN</Template>
  <TotalTime>21538</TotalTime>
  <Words>410</Words>
  <Application>Microsoft Office PowerPoint</Application>
  <PresentationFormat>On-screen Show (16:10)</PresentationFormat>
  <Paragraphs>82</Paragraphs>
  <Slides>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ＭＳ Ｐゴシック</vt:lpstr>
      <vt:lpstr>ＭＳ Ｐゴシック</vt:lpstr>
      <vt:lpstr>Arial</vt:lpstr>
      <vt:lpstr>Arial Hebrew Scholar</vt:lpstr>
      <vt:lpstr>Calibri</vt:lpstr>
      <vt:lpstr>Courier New</vt:lpstr>
      <vt:lpstr>Georgia</vt:lpstr>
      <vt:lpstr>Lucida Grande</vt:lpstr>
      <vt:lpstr>Wingdings</vt:lpstr>
      <vt:lpstr>ヒラギノ角ゴ Pro W3</vt:lpstr>
      <vt:lpstr>Aalto University</vt:lpstr>
      <vt:lpstr>AALTO_FI</vt:lpstr>
      <vt:lpstr>1_Aalto University</vt:lpstr>
      <vt:lpstr>think-cell Slide</vt:lpstr>
      <vt:lpstr>Service development at Aalto University</vt:lpstr>
      <vt:lpstr>Service development organization</vt:lpstr>
      <vt:lpstr>How should our services look like in 2022? Vision v1.0</vt:lpstr>
      <vt:lpstr>Service development roadmap 2018-2022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ject portfolio management</dc:title>
  <dc:creator>Niittumaa Jarkko</dc:creator>
  <cp:lastModifiedBy>Niittumaa Jarkko</cp:lastModifiedBy>
  <cp:revision>100</cp:revision>
  <dcterms:created xsi:type="dcterms:W3CDTF">2018-08-07T07:12:58Z</dcterms:created>
  <dcterms:modified xsi:type="dcterms:W3CDTF">2019-02-15T05:58:43Z</dcterms:modified>
</cp:coreProperties>
</file>